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85" r:id="rId2"/>
    <p:sldId id="295" r:id="rId3"/>
    <p:sldId id="297" r:id="rId4"/>
    <p:sldId id="288" r:id="rId5"/>
    <p:sldId id="291" r:id="rId6"/>
    <p:sldId id="292" r:id="rId7"/>
    <p:sldId id="293" r:id="rId8"/>
    <p:sldId id="289" r:id="rId9"/>
    <p:sldId id="294" r:id="rId10"/>
    <p:sldId id="290" r:id="rId11"/>
    <p:sldId id="296" r:id="rId12"/>
    <p:sldId id="298" r:id="rId13"/>
    <p:sldId id="299" r:id="rId14"/>
    <p:sldId id="300" r:id="rId15"/>
    <p:sldId id="301" r:id="rId16"/>
    <p:sldId id="302" r:id="rId17"/>
    <p:sldId id="303" r:id="rId18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294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FCF35-81F3-4661-AE8A-C1D0CFC92E08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C4122-D4D5-4F36-90FD-CE3A26B6DD5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4011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28192" y="2713340"/>
            <a:ext cx="721118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보장정보원</a:t>
            </a:r>
            <a:r>
              <a:rPr lang="en-US" altLang="ko-KR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노인인력개발원</a:t>
            </a:r>
            <a:endParaRPr lang="en-US" altLang="ko-KR" sz="32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건강증진개발원 </a:t>
            </a:r>
            <a:r>
              <a:rPr lang="ko-KR" altLang="en-US" sz="3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3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37933" y="1844824"/>
            <a:ext cx="6391698" cy="428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건강</a:t>
            </a:r>
            <a:r>
              <a:rPr lang="en-US" altLang="ko-K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행복한 노후를 위한 정보개발</a:t>
            </a:r>
            <a:endParaRPr lang="en-US" altLang="ko-KR" sz="22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16100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5.(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사</a:t>
            </a:r>
            <a:endParaRPr lang="en-US" altLang="ko-KR" sz="9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657" y="692696"/>
            <a:ext cx="830892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반복되는 새로운 출발 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증진개발원」 진단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1625" y="1300491"/>
            <a:ext cx="8635194" cy="3347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국민건강증진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근거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건강 증진의 효율적이고 체계적인 정책개발과 지원 목적으로 설립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건강증진기금평가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98.1)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➝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증진기금사업지원단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01.3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➝「건강증진사업지원단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5.2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➝ 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국건강증진재단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11.1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➝ 「한국건강증진개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.7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으로 현재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름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민건강증진 실현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목표 추진 관련 일관성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안전성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속성 등 훼손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관명칭의 변화 만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건강증진 정책개발 및 지원사업 뚜렷한 실적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직 미흡평가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건강증진’이라는 예방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홍보사업 등 지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진 불구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산집행 성과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시화 부족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의 적극적인 지원 하에 매년 지속적인 조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원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확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건강 증진 체감도는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예방치료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중요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혈압 등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합병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성질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매 등 노인질환 개선사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60424" y="6156969"/>
            <a:ext cx="830281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새로운 비전과 추진전략 수립 체계화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질적인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건강 기여사업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68481" y="625489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6329439" y="33024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238657" y="36410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068343" y="40115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7193535" y="435613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727460"/>
            <a:ext cx="3448820" cy="1342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236" y="4921619"/>
            <a:ext cx="3636824" cy="1170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C:\Users\assembly\Desktop\a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30" y="4900711"/>
            <a:ext cx="1174254" cy="116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587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410388" y="4578349"/>
            <a:ext cx="8375196" cy="13709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76657" y="692696"/>
            <a:ext cx="830892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건강증진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체감성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향상 방안 수립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8382" y="1412776"/>
            <a:ext cx="8635194" cy="3023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WHO, 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신의 건강상태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?”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사 결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3&gt;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인 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5%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만이 ‘매우 좋음 또는 좋음’ 답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OECD &lt;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더 나은 삶 지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The Better Life Index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&gt;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분야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국 중 우리나라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3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‘최하위’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3.5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통계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평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사결과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8.3%’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 “좋다”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도시민 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9.7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%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농어촌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43.7%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4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우리 국민들의 건강관리 및 인식관련 문제점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개인건강 관리에 대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인식도는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높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유지 및 증진에 대한 상대적인 자신감 부족 문제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힐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웰빙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건강에 대한 높은 관심과 비용 지출 증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소 보다 ‘퇴직 이후 집중’ 문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중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다이어트 등 지나친 건강관리 및 투자 급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한 신체기준에 대한 혼선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혼란문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95768" y="6171486"/>
            <a:ext cx="846043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순 건강홍보 지양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령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신체기준별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춤식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건강증진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자신감 향상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시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56635" y="62552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4523108" y="15711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010945" y="19168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2915816" y="22649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635896" y="34417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076056" y="37890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300768" y="414908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611589" y="4653134"/>
            <a:ext cx="3641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Self-reported health (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자기 보고 건강상태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269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155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828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328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273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780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5085184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2" name="Picture 1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082811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082811"/>
            <a:ext cx="648072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79264" y="5661248"/>
            <a:ext cx="79531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뉴질랜드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캐나다 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국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9.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아이슬란드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2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국 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1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멕시코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8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칠레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1. </a:t>
            </a:r>
            <a:r>
              <a:rPr lang="ko-KR" altLang="en-US" sz="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스토니아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3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국         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4.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   </a:t>
            </a:r>
            <a:endParaRPr lang="ko-KR" altLang="en-US" sz="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676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657" y="692696"/>
            <a:ext cx="830892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활발한 금연</a:t>
            </a:r>
            <a:r>
              <a:rPr lang="en-US" altLang="ko-KR" sz="2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만연구 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높은 흡연</a:t>
            </a:r>
            <a:r>
              <a:rPr lang="en-US" altLang="ko-KR" sz="2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만율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업실효성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8382" y="1412776"/>
            <a:ext cx="8635194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담뱃값 인상 이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흡연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여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흡연율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감소 발표 정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내년 담배소비관련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稅수익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.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증가 예상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-’13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비만 유병률 평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1.5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남자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6.3%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자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6.7% -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남자가 많이 높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령별 유병률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남자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∼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47.1%)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자는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∼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42.7%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 가장 높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개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비만 관련 연구수행건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영유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동 관련연구만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이나 수행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개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몇 년간 최대역점사업은 흡연문제 및 금연 예방사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올해만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1.4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예산집행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주요사업의 하나가 비만예방사업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비만율은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여전히 상승세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단순연구 </a:t>
            </a:r>
            <a:r>
              <a:rPr lang="ko-KR" altLang="en-US" sz="15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수행</a:t>
            </a:r>
            <a:r>
              <a:rPr lang="en-US" altLang="ko-KR" sz="15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? </a:t>
            </a:r>
            <a:r>
              <a:rPr lang="ko-KR" altLang="en-US" sz="15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정책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未반영</a:t>
            </a:r>
            <a:endParaRPr lang="ko-KR" altLang="en-US" sz="15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5768" y="6171486"/>
            <a:ext cx="846043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多예산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투입 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금연예방사업」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多연구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만예방사업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실효성 재검토 보완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56635" y="62552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3124639" y="15839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283968" y="19168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539095" y="26168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872523" y="29591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283087" y="32849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 descr="C:\Users\assembly\Desktop\2015 국정감사\PPT\아이템\asf_0000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79" y="3880600"/>
            <a:ext cx="1665782" cy="187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assembly\Desktop\2015 국정감사\PPT\아이템\asf_0000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597" y="3830420"/>
            <a:ext cx="1505629" cy="1970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C:\Users\assembly\Desktop\2015 국정감사\PPT\아이템\asf_000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523" y="3898665"/>
            <a:ext cx="1579797" cy="183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2134090" y="4461902"/>
            <a:ext cx="1360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음주율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0.1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%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76379" y="4461902"/>
            <a:ext cx="1360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흡연율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4.1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%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68667" y="4449673"/>
            <a:ext cx="1360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비만율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1.4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%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9965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4435" y="899350"/>
            <a:ext cx="799267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베이비부머세대의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정신건강」향상방안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 강구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971" y="1684682"/>
            <a:ext cx="8757818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특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인구집단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베이비부머세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제형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노후대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양부담 등 全분야에서 삶의 질 악화 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베이비부머세대가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직면한 </a:t>
            </a:r>
            <a:r>
              <a:rPr lang="ko-KR" altLang="en-US" sz="15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5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5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重苦’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실태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서울대 노화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고령사회연구소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015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고서 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이후 실질소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체 또는 감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근로소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5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0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49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’14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으로 하락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② 학생 등 자식 부양부담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녀교육에 월 평균소득의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3.5%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출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가구 평균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.6%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③ 실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업난에 빠진 독립성인 자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분가자녀 등 경제적 지원도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.8%&lt;‘13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.7%&lt;‘15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④ 실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업난에 빠진 독립성인 자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분가자녀 경제적 지원도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.8%&lt;‘13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.7%&lt;‘15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⑤ 부모 생존비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1.3%, ’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8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은 하락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병비율은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.6%&lt;‘13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.5%&lt;‘15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⑥ ‘노후준비’는 소득 감소와 부양부담 증가로 포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노후준비 됐다’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.4%&lt;‘10&g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.1%&lt;‘14&gt;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하락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민연금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가입률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하락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84.6%&lt;‘10&gt;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➝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74.1%&lt;‘14&gt;)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▶ 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국민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퇴직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인연금 모두 갖췄다’ 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1.8%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에 불과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⑦ 건강상태도 급격히 악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체와 정신 모두 건강’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59.4%&lt;‘10&gt;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6%&lt;‘14&gt;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우울증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율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.7%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6047" y="6171486"/>
            <a:ext cx="8579543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孝 문화 간직 마지막 세대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차원의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신건강 향상 지원대책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추진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96914" y="626940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3220758" y="18509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679180" y="29941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2888914" y="33319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147233" y="368711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904329" y="40080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5898852" y="43485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661561" y="4709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963861" y="535709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218" name="Picture 2" descr="C:\Users\assembly\Desktop\2014 국정감사\피피티(PPT)\아이템\그림ㄴ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086" y="467324"/>
            <a:ext cx="993922" cy="107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23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657" y="692696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저출산시대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청소년 자살방지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대책 연구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8382" y="1412776"/>
            <a:ext cx="8635194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우리나라 청소년들의 자살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스트레스 인지율 등 추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준 여전히 최상위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∼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소년 자살사망자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4,49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女청소년보다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男청소년이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이상 많아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01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5,90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,16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,42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 ➝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男女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공히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5-1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 사이 청소년이 자살 많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살의 최대원인은 학업스트레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업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스트레스 지수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.5%, UNICEF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사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9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국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3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개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정책연구성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9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자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청소년 정신건강’ 관련 연구는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에 불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6657" y="6171486"/>
            <a:ext cx="857954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부처와의 긴밀한 협력 하에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청소년 정신건강 증진 및 지원대책 강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구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40045" y="626940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오른쪽 화살표 7"/>
          <p:cNvSpPr/>
          <p:nvPr/>
        </p:nvSpPr>
        <p:spPr>
          <a:xfrm>
            <a:off x="6031447" y="15839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261687" y="19377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291171" y="25685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4283968" y="29230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106" y="3382550"/>
            <a:ext cx="4210375" cy="263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428" y="3435183"/>
            <a:ext cx="4083912" cy="2736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1491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8188" y="764704"/>
            <a:ext cx="8364527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00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세 장수 시대 </a:t>
            </a:r>
            <a:r>
              <a:rPr lang="ko-KR" altLang="en-US" sz="3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건강 증진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책</a:t>
            </a:r>
            <a:r>
              <a:rPr lang="ko-KR" altLang="en-US" sz="3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구</a:t>
            </a:r>
            <a:endParaRPr lang="en-US" sz="29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2865" y="1628800"/>
            <a:ext cx="8580552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증진관련 각 분야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영역별 개별적인 노력 경주 중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분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혼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혼선양상 혼재 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의 건강증진 대책은 아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병원 입원 이후 질병치료에 집중</a:t>
            </a:r>
            <a:endParaRPr lang="en-US" altLang="ko-KR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최근</a:t>
            </a:r>
            <a:r>
              <a:rPr lang="en-US" altLang="ko-KR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관련 신문</a:t>
            </a:r>
            <a:r>
              <a:rPr lang="en-US" altLang="ko-KR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방송프로 증대 이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관심도 제고와 함께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3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염려증</a:t>
            </a:r>
            <a:r>
              <a:rPr lang="ko-KR" altLang="en-US" sz="16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등 부작용도 일부 발생 </a:t>
            </a:r>
            <a:endParaRPr lang="en-US" altLang="ko-KR" sz="1600" spc="-3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및 보완대책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무병장수 시대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정책연구중심 센터화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보건복지부와 건강증진개발원의「국민건강관리기능」강화 촉진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정부차원의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고령화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시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100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시대 대비한「중장기적 비전과 전략수립」추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개인 이기적 차원 아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건강한 국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차원」공동노력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계적 장수국가 지향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pic>
        <p:nvPicPr>
          <p:cNvPr id="6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40" y="5589240"/>
            <a:ext cx="6991350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8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8612" y="680542"/>
            <a:ext cx="8364527" cy="449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증진관리기금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 합리적 운용</a:t>
            </a:r>
            <a:endParaRPr lang="en-US" sz="29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5189" y="1390055"/>
            <a:ext cx="8653632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담뱃값 인상 등 관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증진관리기금의 규모 증가추세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포괄적 건강관리 목적에 사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담뱃값 관련 금연활동에 부분적 활용 치중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보건복지부 등의 수요와 요구에 따라 피동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극적 집행에 치중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특별회계를 통해 정부차원에서 별도 설정한 취지와 목적달성 미흡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및 보완대책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무병장수 시대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정책연구중심 센터화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건강증진관리기금 운용의 합리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목적성 제고를 위한 중장기 대책 모색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금연활동 등 제원 조성 목적에 보다 충실하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직적 지출구조의 개선방안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료 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강구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건강증진 목적 관련 다양한 활용방안 강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제적 교류포함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예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관련 남북교류와 북한동포 돕기 위한 일정률 별도 재원조성 등 </a:t>
            </a:r>
            <a:endParaRPr lang="en-US" altLang="ko-KR" sz="1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오른쪽 화살표 5"/>
          <p:cNvSpPr/>
          <p:nvPr/>
        </p:nvSpPr>
        <p:spPr>
          <a:xfrm>
            <a:off x="461244" y="314198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Picture 2" descr="C:\Users\assembly\Desktop\2015 국정감사\PPT\1차 기관 로고\한국건강증진개발원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418" y="116632"/>
            <a:ext cx="1223158" cy="35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assembly\Desktop\1_0000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430" y="5147493"/>
            <a:ext cx="1954696" cy="1704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115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11959" y="812013"/>
            <a:ext cx="836452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노인인력개발의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영역과 범위」지속확대</a:t>
            </a:r>
            <a:endParaRPr lang="en-US" sz="29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0933" y="1484784"/>
            <a:ext cx="8580552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노인인력개발의 영역과 대상 설정에 한계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노인 일자리 지속 창출 위한 재원 마련에도 제약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노인」의 특성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새로운 개발대안 마련이나 설정에 어려움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및 보완대책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무병장수 시대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정책연구중심 센터화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경노당 중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노케어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老老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Care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등 노인인력 활용분야 모색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(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예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노당 노인건강 마시지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노당 식사음식 마련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노당 취미생활 지도 등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방행정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각종「지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단속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점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독」 등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반관리상 단순업무 참여기회 확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거주지역 인근 기업체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학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공시설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기업 등 일반지원기능 수행토록 연계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(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예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6·25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참전용사 학교에서 안보강의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업체 공공시설에서의 청소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비용역 등 참여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금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적 보장이 없는「자원봉사활동」기회 부여 등 일반 사회활동 참여기회도 확대 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pic>
        <p:nvPicPr>
          <p:cNvPr id="7" name="Picture 4" descr="C:\Users\assembly\Desktop\2015 국정감사\PPT\1차 기관 로고\kordi_logo_c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487" y="188640"/>
            <a:ext cx="1593998" cy="37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assembly\Desktop\1_0000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1251685"/>
            <a:ext cx="2392263" cy="257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847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481" y="692696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새로운 출발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명실상부한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회보장정보원」 진단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84784"/>
            <a:ext cx="8782238" cy="2577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9. 12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보건복지정보개발원」 출범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IT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강국에 걸맞은 보건의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 정보시스템 제공 목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5. 7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보장정보원」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새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출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사각지대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소 위한 정보지원 역할 강화 목적</a:t>
            </a:r>
          </a:p>
          <a:p>
            <a:pPr fontAlgn="base"/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전략목표 및 핵심과제 수행 실태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존 문제점 답습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보장정보 통합시스템 및 운영체계 관리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산시스템 오류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보제공 부실 사례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보시스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운영관련기관이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복지 수급 현장 민원 접수 업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다수 답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에 건의 중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사회보장 정책지원 강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약계층 대상자 발굴 및 지원 확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제 현장 가시화에는 한계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8819" y="5917500"/>
            <a:ext cx="838658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새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출발과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슬로건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객 감동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걸맞은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시스템 재확립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질적인 쇄신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97841" y="601542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Picture 3" descr="C:\Users\assembly\Desktop\2015 국정감사\PPT\1차 기관 로고\ad_000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89930"/>
            <a:ext cx="1113773" cy="29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오른쪽 화살표 18"/>
          <p:cNvSpPr/>
          <p:nvPr/>
        </p:nvSpPr>
        <p:spPr>
          <a:xfrm>
            <a:off x="4022814" y="30864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911101" y="34289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404493" y="376429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022814" y="20220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385166"/>
            <a:ext cx="1187288" cy="1369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748" y="4355551"/>
            <a:ext cx="1489504" cy="137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391" y="4320256"/>
            <a:ext cx="1281950" cy="1373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725" y="4337367"/>
            <a:ext cx="1281950" cy="137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299448"/>
            <a:ext cx="1334313" cy="1429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507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309932" y="3361125"/>
            <a:ext cx="8641553" cy="23001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76657" y="692696"/>
            <a:ext cx="830892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매년 반복되는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적정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수급 악순환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19672"/>
            <a:ext cx="8782238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사회보장정보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급여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공 간 발생한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적정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수급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오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급금에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대한 환수시스템 운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부적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수급’ 환수 대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3,05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41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수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납액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77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43.2%)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오지급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수 대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2,96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2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적발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수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납액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4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원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5.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現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부적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수급’ 환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미납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7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여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’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오지급‘ 환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미납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원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4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원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5.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現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환수 책임’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원인 제공’은 최초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적정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정보나 부실한 자료를 제공한 사회보장정보원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5576" y="5741135"/>
            <a:ext cx="830526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자체의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급자격 및 급여수준 적정 결정 업무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차질 없도록</a:t>
            </a:r>
            <a:endParaRPr lang="en-US" altLang="ko-KR" sz="1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용노동부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세청 등 관련 부처로부터 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빅데이터차원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정보관리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 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09932" y="58574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133801" y="19237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Picture 3" descr="C:\Users\assembly\Desktop\2015 국정감사\PPT\1차 기관 로고\ad_000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89930"/>
            <a:ext cx="1113773" cy="29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오른쪽 화살표 16"/>
          <p:cNvSpPr/>
          <p:nvPr/>
        </p:nvSpPr>
        <p:spPr>
          <a:xfrm>
            <a:off x="4356149" y="22663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578860" y="26246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2532373" y="297090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2" name="Picture 4" descr="C:\Users\assembly\Desktop\ad_000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41" y="3565532"/>
            <a:ext cx="6638923" cy="1952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assembly\Desktop\ad_00017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872" y="3385731"/>
            <a:ext cx="1778795" cy="215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72408" y="4164552"/>
            <a:ext cx="1882723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13,051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411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 원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27677" y="3682674"/>
            <a:ext cx="3922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적정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수급 환수 대상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최근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>
            <a:off x="1900996" y="4004403"/>
            <a:ext cx="3007210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오른쪽 화살표 19"/>
          <p:cNvSpPr/>
          <p:nvPr/>
        </p:nvSpPr>
        <p:spPr>
          <a:xfrm>
            <a:off x="1792984" y="15922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629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657" y="692696"/>
            <a:ext cx="8308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알고도 적발 못하는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사회서비스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자바우처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부정 결제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19672"/>
            <a:ext cx="8891590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전자바우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터넷 통해 지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정사용방지 등 복지서비스의 품질관리를 위한 시스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회서비스전자바우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‘부정의심결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70,903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제 적발건수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1,249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9.9%)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부정결제’ 적발을 위한 보건복지부 및 사회보장정보원 현장점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단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으로 미흡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정결제 사전차단을 위한 ‘청구비용사전심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정결제의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 유형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속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괄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복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심야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외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대한 원천차단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불가’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5899" y="5759494"/>
            <a:ext cx="85212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청구비용사전심사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시스템 기능 강화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운영을 통한 사전방지대책 마련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09932" y="58574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156176" y="19237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Picture 3" descr="C:\Users\assembly\Desktop\2015 국정감사\PPT\1차 기관 로고\ad_000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89930"/>
            <a:ext cx="1113773" cy="29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오른쪽 화살표 16"/>
          <p:cNvSpPr/>
          <p:nvPr/>
        </p:nvSpPr>
        <p:spPr>
          <a:xfrm>
            <a:off x="5868144" y="22744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344646" y="26271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755575" y="6169667"/>
            <a:ext cx="83052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기적 현장점검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사 활성화를 위한 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법적근거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및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모니터링 강화대책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313584" y="626759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4" name="Picture 2" descr="C:\Users\assembly\Desktop\135155981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373" y="3140968"/>
            <a:ext cx="3810000" cy="250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740358" y="4581128"/>
            <a:ext cx="11835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정적발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1,249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948264" y="4073296"/>
            <a:ext cx="11835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점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검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1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8196" name="Picture 4" descr="C:\Users\assembly\Desktop\2015 국정감사\PPT\아이템\2015011000211_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373" y="3016607"/>
            <a:ext cx="2390612" cy="2996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69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657" y="692696"/>
            <a:ext cx="8308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代行이 ‘代行’ 남발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再외주용역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2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안성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不在실태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9247" y="1484784"/>
            <a:ext cx="8782238" cy="2931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主업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로부터 일체의 보건의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 정보시스템 구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지관리 업무를 전문 대행하는 것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평상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사시를 막론하고 정보통신 보안관련 일체 사항에 대해 ‘有備無患’ 원칙 적용이 중요</a:t>
            </a:r>
          </a:p>
          <a:p>
            <a:pPr fontAlgn="base">
              <a:lnSpc>
                <a:spcPct val="150000"/>
              </a:lnSpc>
            </a:pP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 정보통신망 신설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유지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수사업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순기능향상 등 외주발주 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4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     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사유는 ‘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無전문성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외주발주 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4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 유지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수사업 등 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6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안성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검토 불이행’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인정보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보호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차질 불가피</a:t>
            </a:r>
            <a:endParaRPr lang="ko-KR" altLang="en-US" sz="15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③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 및 국정원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모든 정보화 사업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안성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검토대상’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사회보장정보원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검토대상 아니다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④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홈페이지 관리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자 및 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콜센터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민원 등 개인정보에 민감한 업무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spc="-3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민간용역업체 통해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처리</a:t>
            </a:r>
            <a:r>
              <a:rPr lang="en-US" altLang="ko-KR" sz="15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자체검토  미흡 </a:t>
            </a:r>
            <a:endParaRPr lang="ko-KR" altLang="en-US" sz="1500" spc="-3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08561" y="6018134"/>
            <a:ext cx="830526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對국민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민원업무 직접처리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안성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검토지침」등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준수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62917" y="61344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Picture 3" descr="C:\Users\assembly\Desktop\2015 국정감사\PPT\1차 기관 로고\ad_000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89930"/>
            <a:ext cx="1113773" cy="29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오른쪽 화살표 18"/>
          <p:cNvSpPr/>
          <p:nvPr/>
        </p:nvSpPr>
        <p:spPr>
          <a:xfrm>
            <a:off x="6676589" y="30882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724128" y="34371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387888" y="37854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637967" y="413671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" name="그룹 3"/>
          <p:cNvGrpSpPr/>
          <p:nvPr/>
        </p:nvGrpSpPr>
        <p:grpSpPr>
          <a:xfrm>
            <a:off x="7236645" y="4843260"/>
            <a:ext cx="892101" cy="889000"/>
            <a:chOff x="638559" y="4836139"/>
            <a:chExt cx="892101" cy="889000"/>
          </a:xfrm>
        </p:grpSpPr>
        <p:grpSp>
          <p:nvGrpSpPr>
            <p:cNvPr id="21" name="Group 99"/>
            <p:cNvGrpSpPr/>
            <p:nvPr/>
          </p:nvGrpSpPr>
          <p:grpSpPr>
            <a:xfrm>
              <a:off x="638559" y="4836139"/>
              <a:ext cx="889000" cy="889000"/>
              <a:chOff x="4125686" y="3585029"/>
              <a:chExt cx="889000" cy="889000"/>
            </a:xfrm>
          </p:grpSpPr>
          <p:sp>
            <p:nvSpPr>
              <p:cNvPr id="22" name="Oval 74"/>
              <p:cNvSpPr/>
              <p:nvPr/>
            </p:nvSpPr>
            <p:spPr>
              <a:xfrm>
                <a:off x="4125686" y="3585029"/>
                <a:ext cx="889000" cy="889000"/>
              </a:xfrm>
              <a:prstGeom prst="ellipse">
                <a:avLst/>
              </a:prstGeom>
              <a:solidFill>
                <a:srgbClr val="F0B71F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57200"/>
                <a:endParaRPr lang="en-US" sz="1200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23" name="Group 83"/>
              <p:cNvGrpSpPr/>
              <p:nvPr/>
            </p:nvGrpSpPr>
            <p:grpSpPr>
              <a:xfrm>
                <a:off x="4264238" y="3843807"/>
                <a:ext cx="615524" cy="334803"/>
                <a:chOff x="412750" y="3843338"/>
                <a:chExt cx="379413" cy="206375"/>
              </a:xfrm>
              <a:solidFill>
                <a:schemeClr val="bg1"/>
              </a:solidFill>
            </p:grpSpPr>
            <p:sp>
              <p:nvSpPr>
                <p:cNvPr id="24" name="Freeform 235"/>
                <p:cNvSpPr>
                  <a:spLocks/>
                </p:cNvSpPr>
                <p:nvPr/>
              </p:nvSpPr>
              <p:spPr bwMode="auto">
                <a:xfrm>
                  <a:off x="495300" y="3843338"/>
                  <a:ext cx="215900" cy="206375"/>
                </a:xfrm>
                <a:custGeom>
                  <a:avLst/>
                  <a:gdLst>
                    <a:gd name="T0" fmla="*/ 363 w 681"/>
                    <a:gd name="T1" fmla="*/ 1 h 649"/>
                    <a:gd name="T2" fmla="*/ 394 w 681"/>
                    <a:gd name="T3" fmla="*/ 8 h 649"/>
                    <a:gd name="T4" fmla="*/ 419 w 681"/>
                    <a:gd name="T5" fmla="*/ 26 h 649"/>
                    <a:gd name="T6" fmla="*/ 454 w 681"/>
                    <a:gd name="T7" fmla="*/ 70 h 649"/>
                    <a:gd name="T8" fmla="*/ 468 w 681"/>
                    <a:gd name="T9" fmla="*/ 101 h 649"/>
                    <a:gd name="T10" fmla="*/ 472 w 681"/>
                    <a:gd name="T11" fmla="*/ 126 h 649"/>
                    <a:gd name="T12" fmla="*/ 471 w 681"/>
                    <a:gd name="T13" fmla="*/ 153 h 649"/>
                    <a:gd name="T14" fmla="*/ 461 w 681"/>
                    <a:gd name="T15" fmla="*/ 213 h 649"/>
                    <a:gd name="T16" fmla="*/ 471 w 681"/>
                    <a:gd name="T17" fmla="*/ 210 h 649"/>
                    <a:gd name="T18" fmla="*/ 479 w 681"/>
                    <a:gd name="T19" fmla="*/ 215 h 649"/>
                    <a:gd name="T20" fmla="*/ 472 w 681"/>
                    <a:gd name="T21" fmla="*/ 275 h 649"/>
                    <a:gd name="T22" fmla="*/ 463 w 681"/>
                    <a:gd name="T23" fmla="*/ 306 h 649"/>
                    <a:gd name="T24" fmla="*/ 458 w 681"/>
                    <a:gd name="T25" fmla="*/ 312 h 649"/>
                    <a:gd name="T26" fmla="*/ 447 w 681"/>
                    <a:gd name="T27" fmla="*/ 316 h 649"/>
                    <a:gd name="T28" fmla="*/ 442 w 681"/>
                    <a:gd name="T29" fmla="*/ 351 h 649"/>
                    <a:gd name="T30" fmla="*/ 423 w 681"/>
                    <a:gd name="T31" fmla="*/ 379 h 649"/>
                    <a:gd name="T32" fmla="*/ 434 w 681"/>
                    <a:gd name="T33" fmla="*/ 397 h 649"/>
                    <a:gd name="T34" fmla="*/ 439 w 681"/>
                    <a:gd name="T35" fmla="*/ 417 h 649"/>
                    <a:gd name="T36" fmla="*/ 463 w 681"/>
                    <a:gd name="T37" fmla="*/ 437 h 649"/>
                    <a:gd name="T38" fmla="*/ 529 w 681"/>
                    <a:gd name="T39" fmla="*/ 466 h 649"/>
                    <a:gd name="T40" fmla="*/ 612 w 681"/>
                    <a:gd name="T41" fmla="*/ 501 h 649"/>
                    <a:gd name="T42" fmla="*/ 661 w 681"/>
                    <a:gd name="T43" fmla="*/ 529 h 649"/>
                    <a:gd name="T44" fmla="*/ 678 w 681"/>
                    <a:gd name="T45" fmla="*/ 549 h 649"/>
                    <a:gd name="T46" fmla="*/ 680 w 681"/>
                    <a:gd name="T47" fmla="*/ 575 h 649"/>
                    <a:gd name="T48" fmla="*/ 678 w 681"/>
                    <a:gd name="T49" fmla="*/ 629 h 649"/>
                    <a:gd name="T50" fmla="*/ 340 w 681"/>
                    <a:gd name="T51" fmla="*/ 649 h 649"/>
                    <a:gd name="T52" fmla="*/ 4 w 681"/>
                    <a:gd name="T53" fmla="*/ 629 h 649"/>
                    <a:gd name="T54" fmla="*/ 1 w 681"/>
                    <a:gd name="T55" fmla="*/ 575 h 649"/>
                    <a:gd name="T56" fmla="*/ 4 w 681"/>
                    <a:gd name="T57" fmla="*/ 549 h 649"/>
                    <a:gd name="T58" fmla="*/ 21 w 681"/>
                    <a:gd name="T59" fmla="*/ 529 h 649"/>
                    <a:gd name="T60" fmla="*/ 69 w 681"/>
                    <a:gd name="T61" fmla="*/ 501 h 649"/>
                    <a:gd name="T62" fmla="*/ 153 w 681"/>
                    <a:gd name="T63" fmla="*/ 466 h 649"/>
                    <a:gd name="T64" fmla="*/ 218 w 681"/>
                    <a:gd name="T65" fmla="*/ 437 h 649"/>
                    <a:gd name="T66" fmla="*/ 242 w 681"/>
                    <a:gd name="T67" fmla="*/ 417 h 649"/>
                    <a:gd name="T68" fmla="*/ 248 w 681"/>
                    <a:gd name="T69" fmla="*/ 397 h 649"/>
                    <a:gd name="T70" fmla="*/ 259 w 681"/>
                    <a:gd name="T71" fmla="*/ 379 h 649"/>
                    <a:gd name="T72" fmla="*/ 240 w 681"/>
                    <a:gd name="T73" fmla="*/ 351 h 649"/>
                    <a:gd name="T74" fmla="*/ 234 w 681"/>
                    <a:gd name="T75" fmla="*/ 316 h 649"/>
                    <a:gd name="T76" fmla="*/ 224 w 681"/>
                    <a:gd name="T77" fmla="*/ 312 h 649"/>
                    <a:gd name="T78" fmla="*/ 218 w 681"/>
                    <a:gd name="T79" fmla="*/ 306 h 649"/>
                    <a:gd name="T80" fmla="*/ 209 w 681"/>
                    <a:gd name="T81" fmla="*/ 275 h 649"/>
                    <a:gd name="T82" fmla="*/ 201 w 681"/>
                    <a:gd name="T83" fmla="*/ 216 h 649"/>
                    <a:gd name="T84" fmla="*/ 207 w 681"/>
                    <a:gd name="T85" fmla="*/ 210 h 649"/>
                    <a:gd name="T86" fmla="*/ 213 w 681"/>
                    <a:gd name="T87" fmla="*/ 204 h 649"/>
                    <a:gd name="T88" fmla="*/ 201 w 681"/>
                    <a:gd name="T89" fmla="*/ 164 h 649"/>
                    <a:gd name="T90" fmla="*/ 203 w 681"/>
                    <a:gd name="T91" fmla="*/ 102 h 649"/>
                    <a:gd name="T92" fmla="*/ 211 w 681"/>
                    <a:gd name="T93" fmla="*/ 65 h 649"/>
                    <a:gd name="T94" fmla="*/ 220 w 681"/>
                    <a:gd name="T95" fmla="*/ 44 h 649"/>
                    <a:gd name="T96" fmla="*/ 235 w 681"/>
                    <a:gd name="T97" fmla="*/ 35 h 649"/>
                    <a:gd name="T98" fmla="*/ 248 w 681"/>
                    <a:gd name="T99" fmla="*/ 36 h 649"/>
                    <a:gd name="T100" fmla="*/ 261 w 681"/>
                    <a:gd name="T101" fmla="*/ 26 h 649"/>
                    <a:gd name="T102" fmla="*/ 287 w 681"/>
                    <a:gd name="T103" fmla="*/ 8 h 649"/>
                    <a:gd name="T104" fmla="*/ 319 w 681"/>
                    <a:gd name="T105" fmla="*/ 1 h 6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81" h="649">
                      <a:moveTo>
                        <a:pt x="340" y="0"/>
                      </a:moveTo>
                      <a:lnTo>
                        <a:pt x="351" y="0"/>
                      </a:lnTo>
                      <a:lnTo>
                        <a:pt x="363" y="1"/>
                      </a:lnTo>
                      <a:lnTo>
                        <a:pt x="373" y="3"/>
                      </a:lnTo>
                      <a:lnTo>
                        <a:pt x="384" y="5"/>
                      </a:lnTo>
                      <a:lnTo>
                        <a:pt x="394" y="8"/>
                      </a:lnTo>
                      <a:lnTo>
                        <a:pt x="403" y="13"/>
                      </a:lnTo>
                      <a:lnTo>
                        <a:pt x="412" y="18"/>
                      </a:lnTo>
                      <a:lnTo>
                        <a:pt x="419" y="26"/>
                      </a:lnTo>
                      <a:lnTo>
                        <a:pt x="433" y="41"/>
                      </a:lnTo>
                      <a:lnTo>
                        <a:pt x="445" y="56"/>
                      </a:lnTo>
                      <a:lnTo>
                        <a:pt x="454" y="70"/>
                      </a:lnTo>
                      <a:lnTo>
                        <a:pt x="462" y="85"/>
                      </a:lnTo>
                      <a:lnTo>
                        <a:pt x="465" y="93"/>
                      </a:lnTo>
                      <a:lnTo>
                        <a:pt x="468" y="101"/>
                      </a:lnTo>
                      <a:lnTo>
                        <a:pt x="470" y="109"/>
                      </a:lnTo>
                      <a:lnTo>
                        <a:pt x="471" y="117"/>
                      </a:lnTo>
                      <a:lnTo>
                        <a:pt x="472" y="126"/>
                      </a:lnTo>
                      <a:lnTo>
                        <a:pt x="472" y="134"/>
                      </a:lnTo>
                      <a:lnTo>
                        <a:pt x="472" y="144"/>
                      </a:lnTo>
                      <a:lnTo>
                        <a:pt x="471" y="153"/>
                      </a:lnTo>
                      <a:lnTo>
                        <a:pt x="467" y="184"/>
                      </a:lnTo>
                      <a:lnTo>
                        <a:pt x="463" y="204"/>
                      </a:lnTo>
                      <a:lnTo>
                        <a:pt x="461" y="213"/>
                      </a:lnTo>
                      <a:lnTo>
                        <a:pt x="461" y="215"/>
                      </a:lnTo>
                      <a:lnTo>
                        <a:pt x="464" y="214"/>
                      </a:lnTo>
                      <a:lnTo>
                        <a:pt x="471" y="210"/>
                      </a:lnTo>
                      <a:lnTo>
                        <a:pt x="474" y="210"/>
                      </a:lnTo>
                      <a:lnTo>
                        <a:pt x="477" y="211"/>
                      </a:lnTo>
                      <a:lnTo>
                        <a:pt x="479" y="215"/>
                      </a:lnTo>
                      <a:lnTo>
                        <a:pt x="480" y="220"/>
                      </a:lnTo>
                      <a:lnTo>
                        <a:pt x="477" y="244"/>
                      </a:lnTo>
                      <a:lnTo>
                        <a:pt x="472" y="275"/>
                      </a:lnTo>
                      <a:lnTo>
                        <a:pt x="469" y="289"/>
                      </a:lnTo>
                      <a:lnTo>
                        <a:pt x="465" y="302"/>
                      </a:lnTo>
                      <a:lnTo>
                        <a:pt x="463" y="306"/>
                      </a:lnTo>
                      <a:lnTo>
                        <a:pt x="462" y="310"/>
                      </a:lnTo>
                      <a:lnTo>
                        <a:pt x="460" y="312"/>
                      </a:lnTo>
                      <a:lnTo>
                        <a:pt x="458" y="312"/>
                      </a:lnTo>
                      <a:lnTo>
                        <a:pt x="450" y="310"/>
                      </a:lnTo>
                      <a:lnTo>
                        <a:pt x="449" y="310"/>
                      </a:lnTo>
                      <a:lnTo>
                        <a:pt x="447" y="316"/>
                      </a:lnTo>
                      <a:lnTo>
                        <a:pt x="445" y="333"/>
                      </a:lnTo>
                      <a:lnTo>
                        <a:pt x="444" y="342"/>
                      </a:lnTo>
                      <a:lnTo>
                        <a:pt x="442" y="351"/>
                      </a:lnTo>
                      <a:lnTo>
                        <a:pt x="438" y="359"/>
                      </a:lnTo>
                      <a:lnTo>
                        <a:pt x="435" y="365"/>
                      </a:lnTo>
                      <a:lnTo>
                        <a:pt x="423" y="379"/>
                      </a:lnTo>
                      <a:lnTo>
                        <a:pt x="418" y="383"/>
                      </a:lnTo>
                      <a:lnTo>
                        <a:pt x="417" y="398"/>
                      </a:lnTo>
                      <a:lnTo>
                        <a:pt x="434" y="397"/>
                      </a:lnTo>
                      <a:lnTo>
                        <a:pt x="434" y="401"/>
                      </a:lnTo>
                      <a:lnTo>
                        <a:pt x="436" y="411"/>
                      </a:lnTo>
                      <a:lnTo>
                        <a:pt x="439" y="417"/>
                      </a:lnTo>
                      <a:lnTo>
                        <a:pt x="445" y="424"/>
                      </a:lnTo>
                      <a:lnTo>
                        <a:pt x="453" y="432"/>
                      </a:lnTo>
                      <a:lnTo>
                        <a:pt x="463" y="437"/>
                      </a:lnTo>
                      <a:lnTo>
                        <a:pt x="479" y="445"/>
                      </a:lnTo>
                      <a:lnTo>
                        <a:pt x="502" y="454"/>
                      </a:lnTo>
                      <a:lnTo>
                        <a:pt x="529" y="466"/>
                      </a:lnTo>
                      <a:lnTo>
                        <a:pt x="557" y="477"/>
                      </a:lnTo>
                      <a:lnTo>
                        <a:pt x="585" y="489"/>
                      </a:lnTo>
                      <a:lnTo>
                        <a:pt x="612" y="501"/>
                      </a:lnTo>
                      <a:lnTo>
                        <a:pt x="634" y="512"/>
                      </a:lnTo>
                      <a:lnTo>
                        <a:pt x="651" y="521"/>
                      </a:lnTo>
                      <a:lnTo>
                        <a:pt x="661" y="529"/>
                      </a:lnTo>
                      <a:lnTo>
                        <a:pt x="669" y="536"/>
                      </a:lnTo>
                      <a:lnTo>
                        <a:pt x="674" y="542"/>
                      </a:lnTo>
                      <a:lnTo>
                        <a:pt x="678" y="549"/>
                      </a:lnTo>
                      <a:lnTo>
                        <a:pt x="680" y="557"/>
                      </a:lnTo>
                      <a:lnTo>
                        <a:pt x="681" y="565"/>
                      </a:lnTo>
                      <a:lnTo>
                        <a:pt x="680" y="575"/>
                      </a:lnTo>
                      <a:lnTo>
                        <a:pt x="680" y="588"/>
                      </a:lnTo>
                      <a:lnTo>
                        <a:pt x="679" y="611"/>
                      </a:lnTo>
                      <a:lnTo>
                        <a:pt x="678" y="629"/>
                      </a:lnTo>
                      <a:lnTo>
                        <a:pt x="678" y="641"/>
                      </a:lnTo>
                      <a:lnTo>
                        <a:pt x="678" y="645"/>
                      </a:lnTo>
                      <a:lnTo>
                        <a:pt x="340" y="649"/>
                      </a:lnTo>
                      <a:lnTo>
                        <a:pt x="4" y="645"/>
                      </a:lnTo>
                      <a:lnTo>
                        <a:pt x="4" y="641"/>
                      </a:lnTo>
                      <a:lnTo>
                        <a:pt x="4" y="629"/>
                      </a:lnTo>
                      <a:lnTo>
                        <a:pt x="2" y="611"/>
                      </a:lnTo>
                      <a:lnTo>
                        <a:pt x="1" y="588"/>
                      </a:lnTo>
                      <a:lnTo>
                        <a:pt x="1" y="575"/>
                      </a:lnTo>
                      <a:lnTo>
                        <a:pt x="0" y="565"/>
                      </a:lnTo>
                      <a:lnTo>
                        <a:pt x="1" y="557"/>
                      </a:lnTo>
                      <a:lnTo>
                        <a:pt x="4" y="549"/>
                      </a:lnTo>
                      <a:lnTo>
                        <a:pt x="7" y="542"/>
                      </a:lnTo>
                      <a:lnTo>
                        <a:pt x="13" y="536"/>
                      </a:lnTo>
                      <a:lnTo>
                        <a:pt x="21" y="529"/>
                      </a:lnTo>
                      <a:lnTo>
                        <a:pt x="31" y="521"/>
                      </a:lnTo>
                      <a:lnTo>
                        <a:pt x="48" y="512"/>
                      </a:lnTo>
                      <a:lnTo>
                        <a:pt x="69" y="501"/>
                      </a:lnTo>
                      <a:lnTo>
                        <a:pt x="96" y="489"/>
                      </a:lnTo>
                      <a:lnTo>
                        <a:pt x="124" y="477"/>
                      </a:lnTo>
                      <a:lnTo>
                        <a:pt x="153" y="466"/>
                      </a:lnTo>
                      <a:lnTo>
                        <a:pt x="180" y="454"/>
                      </a:lnTo>
                      <a:lnTo>
                        <a:pt x="202" y="445"/>
                      </a:lnTo>
                      <a:lnTo>
                        <a:pt x="218" y="437"/>
                      </a:lnTo>
                      <a:lnTo>
                        <a:pt x="228" y="432"/>
                      </a:lnTo>
                      <a:lnTo>
                        <a:pt x="236" y="424"/>
                      </a:lnTo>
                      <a:lnTo>
                        <a:pt x="242" y="417"/>
                      </a:lnTo>
                      <a:lnTo>
                        <a:pt x="245" y="411"/>
                      </a:lnTo>
                      <a:lnTo>
                        <a:pt x="248" y="401"/>
                      </a:lnTo>
                      <a:lnTo>
                        <a:pt x="248" y="397"/>
                      </a:lnTo>
                      <a:lnTo>
                        <a:pt x="264" y="398"/>
                      </a:lnTo>
                      <a:lnTo>
                        <a:pt x="263" y="383"/>
                      </a:lnTo>
                      <a:lnTo>
                        <a:pt x="259" y="379"/>
                      </a:lnTo>
                      <a:lnTo>
                        <a:pt x="246" y="365"/>
                      </a:lnTo>
                      <a:lnTo>
                        <a:pt x="243" y="359"/>
                      </a:lnTo>
                      <a:lnTo>
                        <a:pt x="240" y="351"/>
                      </a:lnTo>
                      <a:lnTo>
                        <a:pt x="237" y="342"/>
                      </a:lnTo>
                      <a:lnTo>
                        <a:pt x="236" y="333"/>
                      </a:lnTo>
                      <a:lnTo>
                        <a:pt x="234" y="316"/>
                      </a:lnTo>
                      <a:lnTo>
                        <a:pt x="233" y="310"/>
                      </a:lnTo>
                      <a:lnTo>
                        <a:pt x="232" y="310"/>
                      </a:lnTo>
                      <a:lnTo>
                        <a:pt x="224" y="312"/>
                      </a:lnTo>
                      <a:lnTo>
                        <a:pt x="222" y="312"/>
                      </a:lnTo>
                      <a:lnTo>
                        <a:pt x="219" y="310"/>
                      </a:lnTo>
                      <a:lnTo>
                        <a:pt x="218" y="306"/>
                      </a:lnTo>
                      <a:lnTo>
                        <a:pt x="216" y="302"/>
                      </a:lnTo>
                      <a:lnTo>
                        <a:pt x="213" y="289"/>
                      </a:lnTo>
                      <a:lnTo>
                        <a:pt x="209" y="275"/>
                      </a:lnTo>
                      <a:lnTo>
                        <a:pt x="205" y="244"/>
                      </a:lnTo>
                      <a:lnTo>
                        <a:pt x="201" y="220"/>
                      </a:lnTo>
                      <a:lnTo>
                        <a:pt x="201" y="216"/>
                      </a:lnTo>
                      <a:lnTo>
                        <a:pt x="202" y="213"/>
                      </a:lnTo>
                      <a:lnTo>
                        <a:pt x="205" y="211"/>
                      </a:lnTo>
                      <a:lnTo>
                        <a:pt x="207" y="210"/>
                      </a:lnTo>
                      <a:lnTo>
                        <a:pt x="213" y="210"/>
                      </a:lnTo>
                      <a:lnTo>
                        <a:pt x="217" y="213"/>
                      </a:lnTo>
                      <a:lnTo>
                        <a:pt x="213" y="204"/>
                      </a:lnTo>
                      <a:lnTo>
                        <a:pt x="207" y="192"/>
                      </a:lnTo>
                      <a:lnTo>
                        <a:pt x="203" y="181"/>
                      </a:lnTo>
                      <a:lnTo>
                        <a:pt x="201" y="164"/>
                      </a:lnTo>
                      <a:lnTo>
                        <a:pt x="201" y="145"/>
                      </a:lnTo>
                      <a:lnTo>
                        <a:pt x="201" y="123"/>
                      </a:lnTo>
                      <a:lnTo>
                        <a:pt x="203" y="102"/>
                      </a:lnTo>
                      <a:lnTo>
                        <a:pt x="207" y="82"/>
                      </a:lnTo>
                      <a:lnTo>
                        <a:pt x="209" y="73"/>
                      </a:lnTo>
                      <a:lnTo>
                        <a:pt x="211" y="65"/>
                      </a:lnTo>
                      <a:lnTo>
                        <a:pt x="214" y="57"/>
                      </a:lnTo>
                      <a:lnTo>
                        <a:pt x="217" y="50"/>
                      </a:lnTo>
                      <a:lnTo>
                        <a:pt x="220" y="44"/>
                      </a:lnTo>
                      <a:lnTo>
                        <a:pt x="225" y="40"/>
                      </a:lnTo>
                      <a:lnTo>
                        <a:pt x="229" y="36"/>
                      </a:lnTo>
                      <a:lnTo>
                        <a:pt x="235" y="35"/>
                      </a:lnTo>
                      <a:lnTo>
                        <a:pt x="240" y="34"/>
                      </a:lnTo>
                      <a:lnTo>
                        <a:pt x="243" y="35"/>
                      </a:lnTo>
                      <a:lnTo>
                        <a:pt x="248" y="36"/>
                      </a:lnTo>
                      <a:lnTo>
                        <a:pt x="251" y="38"/>
                      </a:lnTo>
                      <a:lnTo>
                        <a:pt x="257" y="32"/>
                      </a:lnTo>
                      <a:lnTo>
                        <a:pt x="261" y="26"/>
                      </a:lnTo>
                      <a:lnTo>
                        <a:pt x="269" y="18"/>
                      </a:lnTo>
                      <a:lnTo>
                        <a:pt x="278" y="13"/>
                      </a:lnTo>
                      <a:lnTo>
                        <a:pt x="287" y="8"/>
                      </a:lnTo>
                      <a:lnTo>
                        <a:pt x="297" y="5"/>
                      </a:lnTo>
                      <a:lnTo>
                        <a:pt x="307" y="3"/>
                      </a:lnTo>
                      <a:lnTo>
                        <a:pt x="319" y="1"/>
                      </a:lnTo>
                      <a:lnTo>
                        <a:pt x="330" y="0"/>
                      </a:lnTo>
                      <a:lnTo>
                        <a:pt x="3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236"/>
                <p:cNvSpPr>
                  <a:spLocks/>
                </p:cNvSpPr>
                <p:nvPr/>
              </p:nvSpPr>
              <p:spPr bwMode="auto">
                <a:xfrm>
                  <a:off x="658813" y="3871913"/>
                  <a:ext cx="133350" cy="147638"/>
                </a:xfrm>
                <a:custGeom>
                  <a:avLst/>
                  <a:gdLst>
                    <a:gd name="T0" fmla="*/ 189 w 417"/>
                    <a:gd name="T1" fmla="*/ 1 h 466"/>
                    <a:gd name="T2" fmla="*/ 212 w 417"/>
                    <a:gd name="T3" fmla="*/ 5 h 466"/>
                    <a:gd name="T4" fmla="*/ 230 w 417"/>
                    <a:gd name="T5" fmla="*/ 18 h 466"/>
                    <a:gd name="T6" fmla="*/ 254 w 417"/>
                    <a:gd name="T7" fmla="*/ 50 h 466"/>
                    <a:gd name="T8" fmla="*/ 267 w 417"/>
                    <a:gd name="T9" fmla="*/ 83 h 466"/>
                    <a:gd name="T10" fmla="*/ 264 w 417"/>
                    <a:gd name="T11" fmla="*/ 133 h 466"/>
                    <a:gd name="T12" fmla="*/ 259 w 417"/>
                    <a:gd name="T13" fmla="*/ 154 h 466"/>
                    <a:gd name="T14" fmla="*/ 269 w 417"/>
                    <a:gd name="T15" fmla="*/ 151 h 466"/>
                    <a:gd name="T16" fmla="*/ 273 w 417"/>
                    <a:gd name="T17" fmla="*/ 159 h 466"/>
                    <a:gd name="T18" fmla="*/ 265 w 417"/>
                    <a:gd name="T19" fmla="*/ 209 h 466"/>
                    <a:gd name="T20" fmla="*/ 260 w 417"/>
                    <a:gd name="T21" fmla="*/ 223 h 466"/>
                    <a:gd name="T22" fmla="*/ 251 w 417"/>
                    <a:gd name="T23" fmla="*/ 223 h 466"/>
                    <a:gd name="T24" fmla="*/ 248 w 417"/>
                    <a:gd name="T25" fmla="*/ 240 h 466"/>
                    <a:gd name="T26" fmla="*/ 243 w 417"/>
                    <a:gd name="T27" fmla="*/ 259 h 466"/>
                    <a:gd name="T28" fmla="*/ 228 w 417"/>
                    <a:gd name="T29" fmla="*/ 275 h 466"/>
                    <a:gd name="T30" fmla="*/ 240 w 417"/>
                    <a:gd name="T31" fmla="*/ 289 h 466"/>
                    <a:gd name="T32" fmla="*/ 248 w 417"/>
                    <a:gd name="T33" fmla="*/ 306 h 466"/>
                    <a:gd name="T34" fmla="*/ 288 w 417"/>
                    <a:gd name="T35" fmla="*/ 327 h 466"/>
                    <a:gd name="T36" fmla="*/ 367 w 417"/>
                    <a:gd name="T37" fmla="*/ 361 h 466"/>
                    <a:gd name="T38" fmla="*/ 404 w 417"/>
                    <a:gd name="T39" fmla="*/ 380 h 466"/>
                    <a:gd name="T40" fmla="*/ 416 w 417"/>
                    <a:gd name="T41" fmla="*/ 395 h 466"/>
                    <a:gd name="T42" fmla="*/ 417 w 417"/>
                    <a:gd name="T43" fmla="*/ 414 h 466"/>
                    <a:gd name="T44" fmla="*/ 416 w 417"/>
                    <a:gd name="T45" fmla="*/ 454 h 466"/>
                    <a:gd name="T46" fmla="*/ 209 w 417"/>
                    <a:gd name="T47" fmla="*/ 466 h 466"/>
                    <a:gd name="T48" fmla="*/ 205 w 417"/>
                    <a:gd name="T49" fmla="*/ 452 h 466"/>
                    <a:gd name="T50" fmla="*/ 180 w 417"/>
                    <a:gd name="T51" fmla="*/ 430 h 466"/>
                    <a:gd name="T52" fmla="*/ 120 w 417"/>
                    <a:gd name="T53" fmla="*/ 401 h 466"/>
                    <a:gd name="T54" fmla="*/ 41 w 417"/>
                    <a:gd name="T55" fmla="*/ 368 h 466"/>
                    <a:gd name="T56" fmla="*/ 25 w 417"/>
                    <a:gd name="T57" fmla="*/ 340 h 466"/>
                    <a:gd name="T58" fmla="*/ 84 w 417"/>
                    <a:gd name="T59" fmla="*/ 315 h 466"/>
                    <a:gd name="T60" fmla="*/ 101 w 417"/>
                    <a:gd name="T61" fmla="*/ 300 h 466"/>
                    <a:gd name="T62" fmla="*/ 105 w 417"/>
                    <a:gd name="T63" fmla="*/ 285 h 466"/>
                    <a:gd name="T64" fmla="*/ 113 w 417"/>
                    <a:gd name="T65" fmla="*/ 272 h 466"/>
                    <a:gd name="T66" fmla="*/ 100 w 417"/>
                    <a:gd name="T67" fmla="*/ 254 h 466"/>
                    <a:gd name="T68" fmla="*/ 95 w 417"/>
                    <a:gd name="T69" fmla="*/ 228 h 466"/>
                    <a:gd name="T70" fmla="*/ 88 w 417"/>
                    <a:gd name="T71" fmla="*/ 224 h 466"/>
                    <a:gd name="T72" fmla="*/ 84 w 417"/>
                    <a:gd name="T73" fmla="*/ 221 h 466"/>
                    <a:gd name="T74" fmla="*/ 78 w 417"/>
                    <a:gd name="T75" fmla="*/ 198 h 466"/>
                    <a:gd name="T76" fmla="*/ 73 w 417"/>
                    <a:gd name="T77" fmla="*/ 155 h 466"/>
                    <a:gd name="T78" fmla="*/ 76 w 417"/>
                    <a:gd name="T79" fmla="*/ 151 h 466"/>
                    <a:gd name="T80" fmla="*/ 81 w 417"/>
                    <a:gd name="T81" fmla="*/ 146 h 466"/>
                    <a:gd name="T82" fmla="*/ 73 w 417"/>
                    <a:gd name="T83" fmla="*/ 118 h 466"/>
                    <a:gd name="T84" fmla="*/ 74 w 417"/>
                    <a:gd name="T85" fmla="*/ 73 h 466"/>
                    <a:gd name="T86" fmla="*/ 83 w 417"/>
                    <a:gd name="T87" fmla="*/ 36 h 466"/>
                    <a:gd name="T88" fmla="*/ 93 w 417"/>
                    <a:gd name="T89" fmla="*/ 26 h 466"/>
                    <a:gd name="T90" fmla="*/ 108 w 417"/>
                    <a:gd name="T91" fmla="*/ 27 h 466"/>
                    <a:gd name="T92" fmla="*/ 121 w 417"/>
                    <a:gd name="T93" fmla="*/ 13 h 466"/>
                    <a:gd name="T94" fmla="*/ 142 w 417"/>
                    <a:gd name="T95" fmla="*/ 3 h 466"/>
                    <a:gd name="T96" fmla="*/ 165 w 417"/>
                    <a:gd name="T97" fmla="*/ 0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17" h="466">
                      <a:moveTo>
                        <a:pt x="173" y="0"/>
                      </a:moveTo>
                      <a:lnTo>
                        <a:pt x="181" y="0"/>
                      </a:lnTo>
                      <a:lnTo>
                        <a:pt x="189" y="1"/>
                      </a:lnTo>
                      <a:lnTo>
                        <a:pt x="196" y="2"/>
                      </a:lnTo>
                      <a:lnTo>
                        <a:pt x="204" y="3"/>
                      </a:lnTo>
                      <a:lnTo>
                        <a:pt x="212" y="5"/>
                      </a:lnTo>
                      <a:lnTo>
                        <a:pt x="218" y="9"/>
                      </a:lnTo>
                      <a:lnTo>
                        <a:pt x="224" y="13"/>
                      </a:lnTo>
                      <a:lnTo>
                        <a:pt x="230" y="18"/>
                      </a:lnTo>
                      <a:lnTo>
                        <a:pt x="240" y="29"/>
                      </a:lnTo>
                      <a:lnTo>
                        <a:pt x="248" y="39"/>
                      </a:lnTo>
                      <a:lnTo>
                        <a:pt x="254" y="50"/>
                      </a:lnTo>
                      <a:lnTo>
                        <a:pt x="260" y="61"/>
                      </a:lnTo>
                      <a:lnTo>
                        <a:pt x="265" y="72"/>
                      </a:lnTo>
                      <a:lnTo>
                        <a:pt x="267" y="83"/>
                      </a:lnTo>
                      <a:lnTo>
                        <a:pt x="268" y="96"/>
                      </a:lnTo>
                      <a:lnTo>
                        <a:pt x="267" y="109"/>
                      </a:lnTo>
                      <a:lnTo>
                        <a:pt x="264" y="133"/>
                      </a:lnTo>
                      <a:lnTo>
                        <a:pt x="261" y="146"/>
                      </a:lnTo>
                      <a:lnTo>
                        <a:pt x="260" y="153"/>
                      </a:lnTo>
                      <a:lnTo>
                        <a:pt x="259" y="154"/>
                      </a:lnTo>
                      <a:lnTo>
                        <a:pt x="261" y="153"/>
                      </a:lnTo>
                      <a:lnTo>
                        <a:pt x="266" y="151"/>
                      </a:lnTo>
                      <a:lnTo>
                        <a:pt x="269" y="151"/>
                      </a:lnTo>
                      <a:lnTo>
                        <a:pt x="271" y="152"/>
                      </a:lnTo>
                      <a:lnTo>
                        <a:pt x="273" y="154"/>
                      </a:lnTo>
                      <a:lnTo>
                        <a:pt x="273" y="159"/>
                      </a:lnTo>
                      <a:lnTo>
                        <a:pt x="271" y="176"/>
                      </a:lnTo>
                      <a:lnTo>
                        <a:pt x="267" y="198"/>
                      </a:lnTo>
                      <a:lnTo>
                        <a:pt x="265" y="209"/>
                      </a:lnTo>
                      <a:lnTo>
                        <a:pt x="262" y="218"/>
                      </a:lnTo>
                      <a:lnTo>
                        <a:pt x="261" y="221"/>
                      </a:lnTo>
                      <a:lnTo>
                        <a:pt x="260" y="223"/>
                      </a:lnTo>
                      <a:lnTo>
                        <a:pt x="259" y="224"/>
                      </a:lnTo>
                      <a:lnTo>
                        <a:pt x="257" y="224"/>
                      </a:lnTo>
                      <a:lnTo>
                        <a:pt x="251" y="223"/>
                      </a:lnTo>
                      <a:lnTo>
                        <a:pt x="250" y="222"/>
                      </a:lnTo>
                      <a:lnTo>
                        <a:pt x="250" y="228"/>
                      </a:lnTo>
                      <a:lnTo>
                        <a:pt x="248" y="240"/>
                      </a:lnTo>
                      <a:lnTo>
                        <a:pt x="247" y="247"/>
                      </a:lnTo>
                      <a:lnTo>
                        <a:pt x="245" y="254"/>
                      </a:lnTo>
                      <a:lnTo>
                        <a:pt x="243" y="259"/>
                      </a:lnTo>
                      <a:lnTo>
                        <a:pt x="241" y="263"/>
                      </a:lnTo>
                      <a:lnTo>
                        <a:pt x="232" y="272"/>
                      </a:lnTo>
                      <a:lnTo>
                        <a:pt x="228" y="275"/>
                      </a:lnTo>
                      <a:lnTo>
                        <a:pt x="227" y="286"/>
                      </a:lnTo>
                      <a:lnTo>
                        <a:pt x="240" y="285"/>
                      </a:lnTo>
                      <a:lnTo>
                        <a:pt x="240" y="289"/>
                      </a:lnTo>
                      <a:lnTo>
                        <a:pt x="241" y="295"/>
                      </a:lnTo>
                      <a:lnTo>
                        <a:pt x="244" y="300"/>
                      </a:lnTo>
                      <a:lnTo>
                        <a:pt x="248" y="306"/>
                      </a:lnTo>
                      <a:lnTo>
                        <a:pt x="253" y="310"/>
                      </a:lnTo>
                      <a:lnTo>
                        <a:pt x="261" y="315"/>
                      </a:lnTo>
                      <a:lnTo>
                        <a:pt x="288" y="327"/>
                      </a:lnTo>
                      <a:lnTo>
                        <a:pt x="328" y="343"/>
                      </a:lnTo>
                      <a:lnTo>
                        <a:pt x="349" y="352"/>
                      </a:lnTo>
                      <a:lnTo>
                        <a:pt x="367" y="361"/>
                      </a:lnTo>
                      <a:lnTo>
                        <a:pt x="384" y="368"/>
                      </a:lnTo>
                      <a:lnTo>
                        <a:pt x="396" y="375"/>
                      </a:lnTo>
                      <a:lnTo>
                        <a:pt x="404" y="380"/>
                      </a:lnTo>
                      <a:lnTo>
                        <a:pt x="409" y="386"/>
                      </a:lnTo>
                      <a:lnTo>
                        <a:pt x="413" y="390"/>
                      </a:lnTo>
                      <a:lnTo>
                        <a:pt x="416" y="395"/>
                      </a:lnTo>
                      <a:lnTo>
                        <a:pt x="417" y="401"/>
                      </a:lnTo>
                      <a:lnTo>
                        <a:pt x="417" y="407"/>
                      </a:lnTo>
                      <a:lnTo>
                        <a:pt x="417" y="414"/>
                      </a:lnTo>
                      <a:lnTo>
                        <a:pt x="417" y="423"/>
                      </a:lnTo>
                      <a:lnTo>
                        <a:pt x="416" y="440"/>
                      </a:lnTo>
                      <a:lnTo>
                        <a:pt x="416" y="454"/>
                      </a:lnTo>
                      <a:lnTo>
                        <a:pt x="416" y="462"/>
                      </a:lnTo>
                      <a:lnTo>
                        <a:pt x="415" y="464"/>
                      </a:lnTo>
                      <a:lnTo>
                        <a:pt x="209" y="466"/>
                      </a:lnTo>
                      <a:lnTo>
                        <a:pt x="208" y="462"/>
                      </a:lnTo>
                      <a:lnTo>
                        <a:pt x="207" y="457"/>
                      </a:lnTo>
                      <a:lnTo>
                        <a:pt x="205" y="452"/>
                      </a:lnTo>
                      <a:lnTo>
                        <a:pt x="201" y="448"/>
                      </a:lnTo>
                      <a:lnTo>
                        <a:pt x="192" y="439"/>
                      </a:lnTo>
                      <a:lnTo>
                        <a:pt x="180" y="430"/>
                      </a:lnTo>
                      <a:lnTo>
                        <a:pt x="165" y="421"/>
                      </a:lnTo>
                      <a:lnTo>
                        <a:pt x="145" y="412"/>
                      </a:lnTo>
                      <a:lnTo>
                        <a:pt x="120" y="401"/>
                      </a:lnTo>
                      <a:lnTo>
                        <a:pt x="94" y="389"/>
                      </a:lnTo>
                      <a:lnTo>
                        <a:pt x="67" y="378"/>
                      </a:lnTo>
                      <a:lnTo>
                        <a:pt x="41" y="368"/>
                      </a:lnTo>
                      <a:lnTo>
                        <a:pt x="18" y="359"/>
                      </a:lnTo>
                      <a:lnTo>
                        <a:pt x="0" y="351"/>
                      </a:lnTo>
                      <a:lnTo>
                        <a:pt x="25" y="340"/>
                      </a:lnTo>
                      <a:lnTo>
                        <a:pt x="49" y="331"/>
                      </a:lnTo>
                      <a:lnTo>
                        <a:pt x="69" y="321"/>
                      </a:lnTo>
                      <a:lnTo>
                        <a:pt x="84" y="315"/>
                      </a:lnTo>
                      <a:lnTo>
                        <a:pt x="92" y="310"/>
                      </a:lnTo>
                      <a:lnTo>
                        <a:pt x="98" y="306"/>
                      </a:lnTo>
                      <a:lnTo>
                        <a:pt x="101" y="300"/>
                      </a:lnTo>
                      <a:lnTo>
                        <a:pt x="104" y="295"/>
                      </a:lnTo>
                      <a:lnTo>
                        <a:pt x="105" y="289"/>
                      </a:lnTo>
                      <a:lnTo>
                        <a:pt x="105" y="285"/>
                      </a:lnTo>
                      <a:lnTo>
                        <a:pt x="118" y="286"/>
                      </a:lnTo>
                      <a:lnTo>
                        <a:pt x="117" y="275"/>
                      </a:lnTo>
                      <a:lnTo>
                        <a:pt x="113" y="272"/>
                      </a:lnTo>
                      <a:lnTo>
                        <a:pt x="105" y="263"/>
                      </a:lnTo>
                      <a:lnTo>
                        <a:pt x="102" y="259"/>
                      </a:lnTo>
                      <a:lnTo>
                        <a:pt x="100" y="254"/>
                      </a:lnTo>
                      <a:lnTo>
                        <a:pt x="99" y="247"/>
                      </a:lnTo>
                      <a:lnTo>
                        <a:pt x="98" y="240"/>
                      </a:lnTo>
                      <a:lnTo>
                        <a:pt x="95" y="228"/>
                      </a:lnTo>
                      <a:lnTo>
                        <a:pt x="95" y="222"/>
                      </a:lnTo>
                      <a:lnTo>
                        <a:pt x="94" y="223"/>
                      </a:lnTo>
                      <a:lnTo>
                        <a:pt x="88" y="224"/>
                      </a:lnTo>
                      <a:lnTo>
                        <a:pt x="87" y="224"/>
                      </a:lnTo>
                      <a:lnTo>
                        <a:pt x="85" y="223"/>
                      </a:lnTo>
                      <a:lnTo>
                        <a:pt x="84" y="221"/>
                      </a:lnTo>
                      <a:lnTo>
                        <a:pt x="83" y="218"/>
                      </a:lnTo>
                      <a:lnTo>
                        <a:pt x="81" y="209"/>
                      </a:lnTo>
                      <a:lnTo>
                        <a:pt x="78" y="198"/>
                      </a:lnTo>
                      <a:lnTo>
                        <a:pt x="74" y="176"/>
                      </a:lnTo>
                      <a:lnTo>
                        <a:pt x="73" y="159"/>
                      </a:lnTo>
                      <a:lnTo>
                        <a:pt x="73" y="155"/>
                      </a:lnTo>
                      <a:lnTo>
                        <a:pt x="74" y="153"/>
                      </a:lnTo>
                      <a:lnTo>
                        <a:pt x="75" y="152"/>
                      </a:lnTo>
                      <a:lnTo>
                        <a:pt x="76" y="151"/>
                      </a:lnTo>
                      <a:lnTo>
                        <a:pt x="79" y="151"/>
                      </a:lnTo>
                      <a:lnTo>
                        <a:pt x="84" y="153"/>
                      </a:lnTo>
                      <a:lnTo>
                        <a:pt x="81" y="146"/>
                      </a:lnTo>
                      <a:lnTo>
                        <a:pt x="76" y="139"/>
                      </a:lnTo>
                      <a:lnTo>
                        <a:pt x="74" y="129"/>
                      </a:lnTo>
                      <a:lnTo>
                        <a:pt x="73" y="118"/>
                      </a:lnTo>
                      <a:lnTo>
                        <a:pt x="72" y="105"/>
                      </a:lnTo>
                      <a:lnTo>
                        <a:pt x="73" y="89"/>
                      </a:lnTo>
                      <a:lnTo>
                        <a:pt x="74" y="73"/>
                      </a:lnTo>
                      <a:lnTo>
                        <a:pt x="76" y="58"/>
                      </a:lnTo>
                      <a:lnTo>
                        <a:pt x="79" y="46"/>
                      </a:lnTo>
                      <a:lnTo>
                        <a:pt x="83" y="36"/>
                      </a:lnTo>
                      <a:lnTo>
                        <a:pt x="86" y="31"/>
                      </a:lnTo>
                      <a:lnTo>
                        <a:pt x="90" y="28"/>
                      </a:lnTo>
                      <a:lnTo>
                        <a:pt x="93" y="26"/>
                      </a:lnTo>
                      <a:lnTo>
                        <a:pt x="96" y="24"/>
                      </a:lnTo>
                      <a:lnTo>
                        <a:pt x="102" y="24"/>
                      </a:lnTo>
                      <a:lnTo>
                        <a:pt x="108" y="27"/>
                      </a:lnTo>
                      <a:lnTo>
                        <a:pt x="112" y="22"/>
                      </a:lnTo>
                      <a:lnTo>
                        <a:pt x="116" y="18"/>
                      </a:lnTo>
                      <a:lnTo>
                        <a:pt x="121" y="13"/>
                      </a:lnTo>
                      <a:lnTo>
                        <a:pt x="128" y="9"/>
                      </a:lnTo>
                      <a:lnTo>
                        <a:pt x="135" y="5"/>
                      </a:lnTo>
                      <a:lnTo>
                        <a:pt x="142" y="3"/>
                      </a:lnTo>
                      <a:lnTo>
                        <a:pt x="149" y="2"/>
                      </a:lnTo>
                      <a:lnTo>
                        <a:pt x="157" y="1"/>
                      </a:lnTo>
                      <a:lnTo>
                        <a:pt x="165" y="0"/>
                      </a:lnTo>
                      <a:lnTo>
                        <a:pt x="17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37"/>
                <p:cNvSpPr>
                  <a:spLocks/>
                </p:cNvSpPr>
                <p:nvPr/>
              </p:nvSpPr>
              <p:spPr bwMode="auto">
                <a:xfrm>
                  <a:off x="412750" y="3871913"/>
                  <a:ext cx="131763" cy="147638"/>
                </a:xfrm>
                <a:custGeom>
                  <a:avLst/>
                  <a:gdLst>
                    <a:gd name="T0" fmla="*/ 230 w 417"/>
                    <a:gd name="T1" fmla="*/ 1 h 466"/>
                    <a:gd name="T2" fmla="*/ 207 w 417"/>
                    <a:gd name="T3" fmla="*/ 5 h 466"/>
                    <a:gd name="T4" fmla="*/ 188 w 417"/>
                    <a:gd name="T5" fmla="*/ 18 h 466"/>
                    <a:gd name="T6" fmla="*/ 163 w 417"/>
                    <a:gd name="T7" fmla="*/ 50 h 466"/>
                    <a:gd name="T8" fmla="*/ 151 w 417"/>
                    <a:gd name="T9" fmla="*/ 83 h 466"/>
                    <a:gd name="T10" fmla="*/ 154 w 417"/>
                    <a:gd name="T11" fmla="*/ 133 h 466"/>
                    <a:gd name="T12" fmla="*/ 159 w 417"/>
                    <a:gd name="T13" fmla="*/ 154 h 466"/>
                    <a:gd name="T14" fmla="*/ 150 w 417"/>
                    <a:gd name="T15" fmla="*/ 151 h 466"/>
                    <a:gd name="T16" fmla="*/ 145 w 417"/>
                    <a:gd name="T17" fmla="*/ 159 h 466"/>
                    <a:gd name="T18" fmla="*/ 153 w 417"/>
                    <a:gd name="T19" fmla="*/ 209 h 466"/>
                    <a:gd name="T20" fmla="*/ 159 w 417"/>
                    <a:gd name="T21" fmla="*/ 223 h 466"/>
                    <a:gd name="T22" fmla="*/ 166 w 417"/>
                    <a:gd name="T23" fmla="*/ 223 h 466"/>
                    <a:gd name="T24" fmla="*/ 170 w 417"/>
                    <a:gd name="T25" fmla="*/ 240 h 466"/>
                    <a:gd name="T26" fmla="*/ 176 w 417"/>
                    <a:gd name="T27" fmla="*/ 259 h 466"/>
                    <a:gd name="T28" fmla="*/ 189 w 417"/>
                    <a:gd name="T29" fmla="*/ 275 h 466"/>
                    <a:gd name="T30" fmla="*/ 179 w 417"/>
                    <a:gd name="T31" fmla="*/ 289 h 466"/>
                    <a:gd name="T32" fmla="*/ 170 w 417"/>
                    <a:gd name="T33" fmla="*/ 306 h 466"/>
                    <a:gd name="T34" fmla="*/ 129 w 417"/>
                    <a:gd name="T35" fmla="*/ 327 h 466"/>
                    <a:gd name="T36" fmla="*/ 50 w 417"/>
                    <a:gd name="T37" fmla="*/ 361 h 466"/>
                    <a:gd name="T38" fmla="*/ 15 w 417"/>
                    <a:gd name="T39" fmla="*/ 380 h 466"/>
                    <a:gd name="T40" fmla="*/ 3 w 417"/>
                    <a:gd name="T41" fmla="*/ 395 h 466"/>
                    <a:gd name="T42" fmla="*/ 0 w 417"/>
                    <a:gd name="T43" fmla="*/ 414 h 466"/>
                    <a:gd name="T44" fmla="*/ 3 w 417"/>
                    <a:gd name="T45" fmla="*/ 454 h 466"/>
                    <a:gd name="T46" fmla="*/ 208 w 417"/>
                    <a:gd name="T47" fmla="*/ 466 h 466"/>
                    <a:gd name="T48" fmla="*/ 214 w 417"/>
                    <a:gd name="T49" fmla="*/ 452 h 466"/>
                    <a:gd name="T50" fmla="*/ 239 w 417"/>
                    <a:gd name="T51" fmla="*/ 430 h 466"/>
                    <a:gd name="T52" fmla="*/ 297 w 417"/>
                    <a:gd name="T53" fmla="*/ 401 h 466"/>
                    <a:gd name="T54" fmla="*/ 377 w 417"/>
                    <a:gd name="T55" fmla="*/ 368 h 466"/>
                    <a:gd name="T56" fmla="*/ 392 w 417"/>
                    <a:gd name="T57" fmla="*/ 340 h 466"/>
                    <a:gd name="T58" fmla="*/ 334 w 417"/>
                    <a:gd name="T59" fmla="*/ 315 h 466"/>
                    <a:gd name="T60" fmla="*/ 317 w 417"/>
                    <a:gd name="T61" fmla="*/ 300 h 466"/>
                    <a:gd name="T62" fmla="*/ 312 w 417"/>
                    <a:gd name="T63" fmla="*/ 285 h 466"/>
                    <a:gd name="T64" fmla="*/ 304 w 417"/>
                    <a:gd name="T65" fmla="*/ 272 h 466"/>
                    <a:gd name="T66" fmla="*/ 318 w 417"/>
                    <a:gd name="T67" fmla="*/ 254 h 466"/>
                    <a:gd name="T68" fmla="*/ 322 w 417"/>
                    <a:gd name="T69" fmla="*/ 228 h 466"/>
                    <a:gd name="T70" fmla="*/ 330 w 417"/>
                    <a:gd name="T71" fmla="*/ 224 h 466"/>
                    <a:gd name="T72" fmla="*/ 334 w 417"/>
                    <a:gd name="T73" fmla="*/ 221 h 466"/>
                    <a:gd name="T74" fmla="*/ 340 w 417"/>
                    <a:gd name="T75" fmla="*/ 198 h 466"/>
                    <a:gd name="T76" fmla="*/ 346 w 417"/>
                    <a:gd name="T77" fmla="*/ 155 h 466"/>
                    <a:gd name="T78" fmla="*/ 342 w 417"/>
                    <a:gd name="T79" fmla="*/ 151 h 466"/>
                    <a:gd name="T80" fmla="*/ 338 w 417"/>
                    <a:gd name="T81" fmla="*/ 146 h 466"/>
                    <a:gd name="T82" fmla="*/ 346 w 417"/>
                    <a:gd name="T83" fmla="*/ 118 h 466"/>
                    <a:gd name="T84" fmla="*/ 344 w 417"/>
                    <a:gd name="T85" fmla="*/ 73 h 466"/>
                    <a:gd name="T86" fmla="*/ 335 w 417"/>
                    <a:gd name="T87" fmla="*/ 36 h 466"/>
                    <a:gd name="T88" fmla="*/ 326 w 417"/>
                    <a:gd name="T89" fmla="*/ 26 h 466"/>
                    <a:gd name="T90" fmla="*/ 310 w 417"/>
                    <a:gd name="T91" fmla="*/ 27 h 466"/>
                    <a:gd name="T92" fmla="*/ 296 w 417"/>
                    <a:gd name="T93" fmla="*/ 13 h 466"/>
                    <a:gd name="T94" fmla="*/ 277 w 417"/>
                    <a:gd name="T95" fmla="*/ 3 h 466"/>
                    <a:gd name="T96" fmla="*/ 253 w 417"/>
                    <a:gd name="T97" fmla="*/ 0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17" h="466">
                      <a:moveTo>
                        <a:pt x="246" y="0"/>
                      </a:moveTo>
                      <a:lnTo>
                        <a:pt x="238" y="0"/>
                      </a:lnTo>
                      <a:lnTo>
                        <a:pt x="230" y="1"/>
                      </a:lnTo>
                      <a:lnTo>
                        <a:pt x="222" y="2"/>
                      </a:lnTo>
                      <a:lnTo>
                        <a:pt x="214" y="3"/>
                      </a:lnTo>
                      <a:lnTo>
                        <a:pt x="207" y="5"/>
                      </a:lnTo>
                      <a:lnTo>
                        <a:pt x="200" y="9"/>
                      </a:lnTo>
                      <a:lnTo>
                        <a:pt x="194" y="13"/>
                      </a:lnTo>
                      <a:lnTo>
                        <a:pt x="188" y="18"/>
                      </a:lnTo>
                      <a:lnTo>
                        <a:pt x="179" y="29"/>
                      </a:lnTo>
                      <a:lnTo>
                        <a:pt x="170" y="39"/>
                      </a:lnTo>
                      <a:lnTo>
                        <a:pt x="163" y="50"/>
                      </a:lnTo>
                      <a:lnTo>
                        <a:pt x="157" y="61"/>
                      </a:lnTo>
                      <a:lnTo>
                        <a:pt x="154" y="72"/>
                      </a:lnTo>
                      <a:lnTo>
                        <a:pt x="151" y="83"/>
                      </a:lnTo>
                      <a:lnTo>
                        <a:pt x="151" y="96"/>
                      </a:lnTo>
                      <a:lnTo>
                        <a:pt x="151" y="109"/>
                      </a:lnTo>
                      <a:lnTo>
                        <a:pt x="154" y="133"/>
                      </a:lnTo>
                      <a:lnTo>
                        <a:pt x="157" y="146"/>
                      </a:lnTo>
                      <a:lnTo>
                        <a:pt x="159" y="153"/>
                      </a:lnTo>
                      <a:lnTo>
                        <a:pt x="159" y="154"/>
                      </a:lnTo>
                      <a:lnTo>
                        <a:pt x="156" y="153"/>
                      </a:lnTo>
                      <a:lnTo>
                        <a:pt x="152" y="151"/>
                      </a:lnTo>
                      <a:lnTo>
                        <a:pt x="150" y="151"/>
                      </a:lnTo>
                      <a:lnTo>
                        <a:pt x="147" y="152"/>
                      </a:lnTo>
                      <a:lnTo>
                        <a:pt x="145" y="154"/>
                      </a:lnTo>
                      <a:lnTo>
                        <a:pt x="145" y="159"/>
                      </a:lnTo>
                      <a:lnTo>
                        <a:pt x="147" y="176"/>
                      </a:lnTo>
                      <a:lnTo>
                        <a:pt x="151" y="198"/>
                      </a:lnTo>
                      <a:lnTo>
                        <a:pt x="153" y="209"/>
                      </a:lnTo>
                      <a:lnTo>
                        <a:pt x="155" y="218"/>
                      </a:lnTo>
                      <a:lnTo>
                        <a:pt x="157" y="221"/>
                      </a:lnTo>
                      <a:lnTo>
                        <a:pt x="159" y="223"/>
                      </a:lnTo>
                      <a:lnTo>
                        <a:pt x="160" y="224"/>
                      </a:lnTo>
                      <a:lnTo>
                        <a:pt x="161" y="224"/>
                      </a:lnTo>
                      <a:lnTo>
                        <a:pt x="166" y="223"/>
                      </a:lnTo>
                      <a:lnTo>
                        <a:pt x="168" y="222"/>
                      </a:lnTo>
                      <a:lnTo>
                        <a:pt x="169" y="228"/>
                      </a:lnTo>
                      <a:lnTo>
                        <a:pt x="170" y="240"/>
                      </a:lnTo>
                      <a:lnTo>
                        <a:pt x="171" y="247"/>
                      </a:lnTo>
                      <a:lnTo>
                        <a:pt x="173" y="254"/>
                      </a:lnTo>
                      <a:lnTo>
                        <a:pt x="176" y="259"/>
                      </a:lnTo>
                      <a:lnTo>
                        <a:pt x="178" y="263"/>
                      </a:lnTo>
                      <a:lnTo>
                        <a:pt x="187" y="272"/>
                      </a:lnTo>
                      <a:lnTo>
                        <a:pt x="189" y="275"/>
                      </a:lnTo>
                      <a:lnTo>
                        <a:pt x="190" y="286"/>
                      </a:lnTo>
                      <a:lnTo>
                        <a:pt x="179" y="285"/>
                      </a:lnTo>
                      <a:lnTo>
                        <a:pt x="179" y="289"/>
                      </a:lnTo>
                      <a:lnTo>
                        <a:pt x="177" y="295"/>
                      </a:lnTo>
                      <a:lnTo>
                        <a:pt x="174" y="300"/>
                      </a:lnTo>
                      <a:lnTo>
                        <a:pt x="170" y="306"/>
                      </a:lnTo>
                      <a:lnTo>
                        <a:pt x="164" y="310"/>
                      </a:lnTo>
                      <a:lnTo>
                        <a:pt x="157" y="315"/>
                      </a:lnTo>
                      <a:lnTo>
                        <a:pt x="129" y="327"/>
                      </a:lnTo>
                      <a:lnTo>
                        <a:pt x="90" y="343"/>
                      </a:lnTo>
                      <a:lnTo>
                        <a:pt x="69" y="352"/>
                      </a:lnTo>
                      <a:lnTo>
                        <a:pt x="50" y="361"/>
                      </a:lnTo>
                      <a:lnTo>
                        <a:pt x="34" y="368"/>
                      </a:lnTo>
                      <a:lnTo>
                        <a:pt x="22" y="375"/>
                      </a:lnTo>
                      <a:lnTo>
                        <a:pt x="15" y="380"/>
                      </a:lnTo>
                      <a:lnTo>
                        <a:pt x="10" y="386"/>
                      </a:lnTo>
                      <a:lnTo>
                        <a:pt x="5" y="390"/>
                      </a:lnTo>
                      <a:lnTo>
                        <a:pt x="3" y="395"/>
                      </a:lnTo>
                      <a:lnTo>
                        <a:pt x="2" y="401"/>
                      </a:lnTo>
                      <a:lnTo>
                        <a:pt x="0" y="407"/>
                      </a:lnTo>
                      <a:lnTo>
                        <a:pt x="0" y="414"/>
                      </a:lnTo>
                      <a:lnTo>
                        <a:pt x="0" y="423"/>
                      </a:lnTo>
                      <a:lnTo>
                        <a:pt x="2" y="440"/>
                      </a:lnTo>
                      <a:lnTo>
                        <a:pt x="3" y="454"/>
                      </a:lnTo>
                      <a:lnTo>
                        <a:pt x="3" y="462"/>
                      </a:lnTo>
                      <a:lnTo>
                        <a:pt x="3" y="464"/>
                      </a:lnTo>
                      <a:lnTo>
                        <a:pt x="208" y="466"/>
                      </a:lnTo>
                      <a:lnTo>
                        <a:pt x="209" y="462"/>
                      </a:lnTo>
                      <a:lnTo>
                        <a:pt x="212" y="457"/>
                      </a:lnTo>
                      <a:lnTo>
                        <a:pt x="214" y="452"/>
                      </a:lnTo>
                      <a:lnTo>
                        <a:pt x="216" y="448"/>
                      </a:lnTo>
                      <a:lnTo>
                        <a:pt x="225" y="439"/>
                      </a:lnTo>
                      <a:lnTo>
                        <a:pt x="239" y="430"/>
                      </a:lnTo>
                      <a:lnTo>
                        <a:pt x="253" y="421"/>
                      </a:lnTo>
                      <a:lnTo>
                        <a:pt x="274" y="412"/>
                      </a:lnTo>
                      <a:lnTo>
                        <a:pt x="297" y="401"/>
                      </a:lnTo>
                      <a:lnTo>
                        <a:pt x="325" y="389"/>
                      </a:lnTo>
                      <a:lnTo>
                        <a:pt x="351" y="378"/>
                      </a:lnTo>
                      <a:lnTo>
                        <a:pt x="377" y="368"/>
                      </a:lnTo>
                      <a:lnTo>
                        <a:pt x="399" y="359"/>
                      </a:lnTo>
                      <a:lnTo>
                        <a:pt x="417" y="351"/>
                      </a:lnTo>
                      <a:lnTo>
                        <a:pt x="392" y="340"/>
                      </a:lnTo>
                      <a:lnTo>
                        <a:pt x="369" y="331"/>
                      </a:lnTo>
                      <a:lnTo>
                        <a:pt x="348" y="321"/>
                      </a:lnTo>
                      <a:lnTo>
                        <a:pt x="334" y="315"/>
                      </a:lnTo>
                      <a:lnTo>
                        <a:pt x="326" y="310"/>
                      </a:lnTo>
                      <a:lnTo>
                        <a:pt x="320" y="306"/>
                      </a:lnTo>
                      <a:lnTo>
                        <a:pt x="317" y="300"/>
                      </a:lnTo>
                      <a:lnTo>
                        <a:pt x="314" y="295"/>
                      </a:lnTo>
                      <a:lnTo>
                        <a:pt x="312" y="289"/>
                      </a:lnTo>
                      <a:lnTo>
                        <a:pt x="312" y="285"/>
                      </a:lnTo>
                      <a:lnTo>
                        <a:pt x="301" y="286"/>
                      </a:lnTo>
                      <a:lnTo>
                        <a:pt x="302" y="275"/>
                      </a:lnTo>
                      <a:lnTo>
                        <a:pt x="304" y="272"/>
                      </a:lnTo>
                      <a:lnTo>
                        <a:pt x="313" y="263"/>
                      </a:lnTo>
                      <a:lnTo>
                        <a:pt x="316" y="259"/>
                      </a:lnTo>
                      <a:lnTo>
                        <a:pt x="318" y="254"/>
                      </a:lnTo>
                      <a:lnTo>
                        <a:pt x="320" y="247"/>
                      </a:lnTo>
                      <a:lnTo>
                        <a:pt x="321" y="240"/>
                      </a:lnTo>
                      <a:lnTo>
                        <a:pt x="322" y="228"/>
                      </a:lnTo>
                      <a:lnTo>
                        <a:pt x="323" y="222"/>
                      </a:lnTo>
                      <a:lnTo>
                        <a:pt x="323" y="223"/>
                      </a:lnTo>
                      <a:lnTo>
                        <a:pt x="330" y="224"/>
                      </a:lnTo>
                      <a:lnTo>
                        <a:pt x="331" y="224"/>
                      </a:lnTo>
                      <a:lnTo>
                        <a:pt x="332" y="223"/>
                      </a:lnTo>
                      <a:lnTo>
                        <a:pt x="334" y="221"/>
                      </a:lnTo>
                      <a:lnTo>
                        <a:pt x="335" y="218"/>
                      </a:lnTo>
                      <a:lnTo>
                        <a:pt x="338" y="209"/>
                      </a:lnTo>
                      <a:lnTo>
                        <a:pt x="340" y="198"/>
                      </a:lnTo>
                      <a:lnTo>
                        <a:pt x="344" y="176"/>
                      </a:lnTo>
                      <a:lnTo>
                        <a:pt x="346" y="159"/>
                      </a:lnTo>
                      <a:lnTo>
                        <a:pt x="346" y="155"/>
                      </a:lnTo>
                      <a:lnTo>
                        <a:pt x="345" y="153"/>
                      </a:lnTo>
                      <a:lnTo>
                        <a:pt x="344" y="152"/>
                      </a:lnTo>
                      <a:lnTo>
                        <a:pt x="342" y="151"/>
                      </a:lnTo>
                      <a:lnTo>
                        <a:pt x="338" y="151"/>
                      </a:lnTo>
                      <a:lnTo>
                        <a:pt x="335" y="153"/>
                      </a:lnTo>
                      <a:lnTo>
                        <a:pt x="338" y="146"/>
                      </a:lnTo>
                      <a:lnTo>
                        <a:pt x="342" y="139"/>
                      </a:lnTo>
                      <a:lnTo>
                        <a:pt x="344" y="129"/>
                      </a:lnTo>
                      <a:lnTo>
                        <a:pt x="346" y="118"/>
                      </a:lnTo>
                      <a:lnTo>
                        <a:pt x="346" y="105"/>
                      </a:lnTo>
                      <a:lnTo>
                        <a:pt x="346" y="89"/>
                      </a:lnTo>
                      <a:lnTo>
                        <a:pt x="344" y="73"/>
                      </a:lnTo>
                      <a:lnTo>
                        <a:pt x="342" y="58"/>
                      </a:lnTo>
                      <a:lnTo>
                        <a:pt x="339" y="46"/>
                      </a:lnTo>
                      <a:lnTo>
                        <a:pt x="335" y="36"/>
                      </a:lnTo>
                      <a:lnTo>
                        <a:pt x="331" y="31"/>
                      </a:lnTo>
                      <a:lnTo>
                        <a:pt x="329" y="28"/>
                      </a:lnTo>
                      <a:lnTo>
                        <a:pt x="326" y="26"/>
                      </a:lnTo>
                      <a:lnTo>
                        <a:pt x="322" y="24"/>
                      </a:lnTo>
                      <a:lnTo>
                        <a:pt x="316" y="24"/>
                      </a:lnTo>
                      <a:lnTo>
                        <a:pt x="310" y="27"/>
                      </a:lnTo>
                      <a:lnTo>
                        <a:pt x="307" y="22"/>
                      </a:lnTo>
                      <a:lnTo>
                        <a:pt x="302" y="18"/>
                      </a:lnTo>
                      <a:lnTo>
                        <a:pt x="296" y="13"/>
                      </a:lnTo>
                      <a:lnTo>
                        <a:pt x="291" y="9"/>
                      </a:lnTo>
                      <a:lnTo>
                        <a:pt x="284" y="5"/>
                      </a:lnTo>
                      <a:lnTo>
                        <a:pt x="277" y="3"/>
                      </a:lnTo>
                      <a:lnTo>
                        <a:pt x="269" y="2"/>
                      </a:lnTo>
                      <a:lnTo>
                        <a:pt x="261" y="1"/>
                      </a:lnTo>
                      <a:lnTo>
                        <a:pt x="253" y="0"/>
                      </a:lnTo>
                      <a:lnTo>
                        <a:pt x="24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7" name="TextBox 26"/>
            <p:cNvSpPr txBox="1"/>
            <p:nvPr/>
          </p:nvSpPr>
          <p:spPr>
            <a:xfrm>
              <a:off x="641660" y="5403473"/>
              <a:ext cx="889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외부용역</a:t>
              </a:r>
              <a:endParaRPr lang="ko-KR" altLang="en-US" sz="100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7218" y="4805953"/>
            <a:ext cx="936104" cy="1019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오른쪽 화살표 4"/>
          <p:cNvSpPr/>
          <p:nvPr/>
        </p:nvSpPr>
        <p:spPr>
          <a:xfrm>
            <a:off x="4500341" y="5066082"/>
            <a:ext cx="560851" cy="402120"/>
          </a:xfrm>
          <a:prstGeom prst="rightArrow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위 탁</a:t>
            </a:r>
            <a:endParaRPr lang="ko-KR" altLang="en-US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6458519" y="5066082"/>
            <a:ext cx="560851" cy="402120"/>
          </a:xfrm>
          <a:prstGeom prst="rightArrow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위 탁</a:t>
            </a:r>
            <a:endParaRPr lang="ko-KR" altLang="en-US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748307" y="4864519"/>
            <a:ext cx="2205249" cy="96074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971835" y="5021727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부 사업을</a:t>
            </a:r>
            <a:endParaRPr lang="en-US" altLang="ko-KR" sz="12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ko-KR" altLang="en-US" sz="12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재위탁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하는 정보원의 업무처리 시스템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63881" y="2838971"/>
            <a:ext cx="13674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보화사업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0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329" y="4843260"/>
            <a:ext cx="1257300" cy="88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7465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481" y="692696"/>
            <a:ext cx="830892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e-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응급알리미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부실 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84784"/>
            <a:ext cx="878223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e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응급알리미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시스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독거노인 및 장애인 宅內 대상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화재 등 유사시 구급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구호 요청 시스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0,15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,12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설비 및 시스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설치 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예산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66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집행</a:t>
            </a:r>
            <a:endParaRPr lang="en-US" altLang="ko-KR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/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최근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 독거노인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e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응급알리미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작동 건수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54,397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中 응급상황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,802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응급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외 상황 </a:t>
            </a:r>
            <a:r>
              <a:rPr lang="en-US" altLang="ko-KR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87.5%</a:t>
            </a:r>
            <a:endParaRPr lang="ko-KR" altLang="en-US" sz="15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장애인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e</a:t>
            </a:r>
            <a:r>
              <a:rPr lang="ko-KR" altLang="en-US" sz="15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응급알리미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작동 건수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,420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中 실제응급 상황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38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응급 외 상황 </a:t>
            </a:r>
            <a:r>
              <a:rPr lang="en-US" altLang="ko-KR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90.1%</a:t>
            </a:r>
            <a:endParaRPr lang="ko-KR" altLang="en-US" sz="15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③ 오작동 원인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당수가 담배연기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난방용 장작연기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살충제 살포 등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수년간 기술적 개선 ‘방치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④ 오작동 등에 대한 사후관리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A/S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독거노인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0,969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애인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,488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만 점검      </a:t>
            </a:r>
            <a:r>
              <a:rPr lang="ko-KR" altLang="en-US" sz="15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사후관리도 ‘부실’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1574" y="6018134"/>
            <a:ext cx="84762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취약계층 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e-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응급알리미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재점검 및 기술개선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기 완료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36944" y="61344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Picture 3" descr="C:\Users\assembly\Desktop\2015 국정감사\PPT\1차 기관 로고\ad_000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89930"/>
            <a:ext cx="1113773" cy="29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오른쪽 화살표 18"/>
          <p:cNvSpPr/>
          <p:nvPr/>
        </p:nvSpPr>
        <p:spPr>
          <a:xfrm>
            <a:off x="6348303" y="29734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524839" y="331088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956887" y="36455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6682895" y="399154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300192" y="202200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020" y="4460627"/>
            <a:ext cx="1617582" cy="140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31568" y="4702715"/>
            <a:ext cx="112395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164068" y="4679200"/>
            <a:ext cx="3079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오작동으로 인한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응급 외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상황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출동이  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90%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083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9247" y="1484784"/>
            <a:ext cx="878223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인구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65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시대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후 총 인구의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%, 1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만 시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일자리 예산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 시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정된 예산 이유로 양적 확대 지향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양질의 일자리 창출 불가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 의료비 지출 지속적 증가 및 고비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효율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구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7.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 원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 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복지정책의 변화 요구 급증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Health Care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심에서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Active Aging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심으로 변화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복지법 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사회참여지원의 ‘선언적 규정’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침만으로 ‘일자리 창출과 지원’</a:t>
            </a:r>
          </a:p>
        </p:txBody>
      </p:sp>
      <p:sp>
        <p:nvSpPr>
          <p:cNvPr id="13" name="오른쪽 화살표 12"/>
          <p:cNvSpPr/>
          <p:nvPr/>
        </p:nvSpPr>
        <p:spPr>
          <a:xfrm>
            <a:off x="3479701" y="16558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3002424" y="2015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508104" y="23891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3292638" y="276676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4" descr="C:\Users\assembly\Desktop\2015 국정감사\PPT\1차 기관 로고\kordi_logo_c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487" y="188640"/>
            <a:ext cx="1593998" cy="37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오른쪽 화살표 10"/>
          <p:cNvSpPr/>
          <p:nvPr/>
        </p:nvSpPr>
        <p:spPr>
          <a:xfrm>
            <a:off x="5345013" y="31376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686483" y="6154953"/>
            <a:ext cx="8581339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처間 연계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차원의 노인 일자리 창출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성화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한 법적 근거 등 촉진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61346" y="62644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476657" y="692696"/>
            <a:ext cx="830892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인 사회참여 활성화 및 지원」기능 촉진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1304549" y="3658411"/>
            <a:ext cx="4782352" cy="2165593"/>
            <a:chOff x="1304549" y="3658411"/>
            <a:chExt cx="4782352" cy="2165593"/>
          </a:xfrm>
        </p:grpSpPr>
        <p:pic>
          <p:nvPicPr>
            <p:cNvPr id="7170" name="Picture 2" descr="C:\Users\assembly\Desktop\htm_20120208012410101012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4549" y="3658411"/>
              <a:ext cx="4782352" cy="2165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 rot="1222240">
              <a:off x="3723656" y="3970672"/>
              <a:ext cx="47727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b="1" dirty="0" smtClean="0">
                  <a:latin typeface="휴먼고딕" panose="02010504000101010101" pitchFamily="2" charset="-127"/>
                  <a:ea typeface="휴먼고딕" panose="02010504000101010101" pitchFamily="2" charset="-127"/>
                </a:rPr>
                <a:t>지침</a:t>
              </a:r>
              <a:endParaRPr lang="ko-KR" altLang="en-US" sz="1000" b="1" dirty="0"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pic>
        <p:nvPicPr>
          <p:cNvPr id="7172" name="Picture 4" descr="C:\Users\assembly\Desktop\asd_0000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3933056"/>
            <a:ext cx="964458" cy="1987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158100" y="4741207"/>
            <a:ext cx="12335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노인인구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50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만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344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9247" y="1484784"/>
            <a:ext cx="878223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 기대수명 증가로 인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들의 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 인생기간 연장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퇴직 후 인생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시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내년부터 생산가능인구의 지속 감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산업경쟁력 연착륙 위한 노인인력활용 중요성 증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기초노령수급권자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 사회참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익복지형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일자리 年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月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 이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노인 일자리 창출과 지원의 뚜렷한 한계 노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낮은 단계의 노동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대적 저임금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효과적 사업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04253" y="6154953"/>
            <a:ext cx="8581339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혜성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단순 도입 지양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 중심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춤형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시스템」확립과 추진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565120" y="62644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205872" y="16637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3673624" y="20200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948264" y="23891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469294" y="27485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4" descr="C:\Users\assembly\Desktop\2015 국정감사\PPT\1차 기관 로고\kordi_logo_c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487" y="188640"/>
            <a:ext cx="1593998" cy="37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5342" y="764704"/>
            <a:ext cx="83900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선진국 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型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사회참여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도입 검토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383423"/>
              </p:ext>
            </p:extLst>
          </p:nvPr>
        </p:nvGraphicFramePr>
        <p:xfrm>
          <a:off x="354493" y="3861048"/>
          <a:ext cx="8465979" cy="1872207"/>
        </p:xfrm>
        <a:graphic>
          <a:graphicData uri="http://schemas.openxmlformats.org/drawingml/2006/table">
            <a:tbl>
              <a:tblPr/>
              <a:tblGrid>
                <a:gridCol w="833131"/>
                <a:gridCol w="1440160"/>
                <a:gridCol w="1224136"/>
                <a:gridCol w="1368152"/>
                <a:gridCol w="1728192"/>
                <a:gridCol w="1872208"/>
              </a:tblGrid>
              <a:tr h="254233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주요 특징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미국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Experience Corps)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일본 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실버인재센터</a:t>
                      </a:r>
                      <a:r>
                        <a:rPr lang="en-US" altLang="ko-KR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영국 </a:t>
                      </a:r>
                      <a:r>
                        <a:rPr lang="en-US" altLang="ko-KR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RSVP)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독일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42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활동적 노후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전 세대 자원봉사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46805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대상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0</a:t>
                      </a:r>
                      <a:r>
                        <a:rPr lang="ko-KR" altLang="en-US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이상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평균 연령 </a:t>
                      </a:r>
                      <a:r>
                        <a:rPr lang="en-US" altLang="ko-KR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7</a:t>
                      </a:r>
                      <a:r>
                        <a:rPr lang="ko-KR" altLang="en-US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</a:t>
                      </a:r>
                      <a:r>
                        <a:rPr lang="en-US" altLang="ko-KR" sz="1100" kern="0" spc="-9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kern="0" spc="-9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0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상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0</a:t>
                      </a:r>
                      <a:r>
                        <a:rPr lang="ko-KR" altLang="en-US" sz="1100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상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0~75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한無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참여자 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2%, 55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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568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주된 활동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ko-KR" altLang="en-US" sz="1100" kern="0" spc="-11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아동 </a:t>
                      </a:r>
                      <a:r>
                        <a:rPr lang="ko-KR" altLang="en-US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학습능력 및 자신감 향상 기여</a:t>
                      </a:r>
                      <a:r>
                        <a:rPr lang="ko-KR" altLang="en-US" sz="1100" kern="0" spc="-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endParaRPr lang="en-US" altLang="ko-KR" sz="1100" kern="0" spc="-10" dirty="0" smtClean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0" spc="-10" baseline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 </a:t>
                      </a:r>
                      <a:r>
                        <a:rPr lang="en-US" altLang="ko-KR" sz="1100" kern="0" spc="-11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읽기쓰기 지도</a:t>
                      </a:r>
                      <a:r>
                        <a:rPr lang="en-US" altLang="ko-KR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1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멘토</a:t>
                      </a:r>
                      <a:r>
                        <a:rPr lang="en-US" altLang="ko-KR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endParaRPr lang="ko-KR" altLang="en-US" sz="1100" kern="0" spc="-11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술</a:t>
                      </a: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번역</a:t>
                      </a: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·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통역</a:t>
                      </a: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kern="0" spc="-5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능 전수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관리 경험 교육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자문 서비스 등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술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환경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회복지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제</a:t>
                      </a:r>
                      <a:r>
                        <a:rPr lang="en-US" altLang="ko-KR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</a:t>
                      </a:r>
                      <a:r>
                        <a:rPr lang="ko-KR" altLang="en-US" sz="1100" kern="0" spc="-150" baseline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문화유산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존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재소자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교육 등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9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9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이웃돌봄서비스</a:t>
                      </a:r>
                      <a:endParaRPr lang="ko-KR" altLang="en-US" sz="1100" kern="0" spc="-9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주거환경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교육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문화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노인 인프라 구축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건강증진 등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10" dirty="0" err="1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돌봄서비스</a:t>
                      </a:r>
                      <a:r>
                        <a:rPr lang="ko-KR" altLang="en-US" sz="1100" kern="0" spc="-11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조언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컨설팅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 err="1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업멘토링</a:t>
                      </a:r>
                      <a:r>
                        <a:rPr lang="en-US" altLang="ko-KR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</a:t>
                      </a:r>
                      <a:r>
                        <a:rPr lang="ko-KR" altLang="en-US" sz="1100" kern="0" spc="-150" baseline="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학교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시니어 파트너</a:t>
                      </a:r>
                      <a:r>
                        <a:rPr lang="en-US" altLang="ko-KR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100" kern="0" spc="-150" dirty="0" smtClean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방문 </a:t>
                      </a:r>
                      <a:r>
                        <a:rPr lang="ko-KR" altLang="en-US" sz="1100" kern="0" spc="-150" dirty="0">
                          <a:solidFill>
                            <a:srgbClr val="0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치료 및 간호</a:t>
                      </a:r>
                    </a:p>
                  </a:txBody>
                  <a:tcPr marL="57303" marR="57303" marT="15843" marB="1584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54958" y="3438872"/>
            <a:ext cx="6624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해외 선진국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부 유료지원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인 사회참여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/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자원봉사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자리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프로그램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4300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0059" y="1419672"/>
            <a:ext cx="8782238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제공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 사회활동지원사업 일자리 총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천개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예산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,187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‘15&gt;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취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창업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경력유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익활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재능나눔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원봉사 활동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중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월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月 평균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원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의 사업성과 분석은 일자리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36,43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‘14&gt;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 발표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식 취업률 자료에 성실하게 포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정부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익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형 노인 일자리에 대해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근로기준법상 ‘근로자’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적용대상 포함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3927" y="6154952"/>
            <a:ext cx="824755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익복지형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원사업의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근로기준법 적용 부처간 대상배제 및 관련 지원책 강화</a:t>
            </a:r>
            <a:endParaRPr lang="ko-KR" altLang="en-US" sz="19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68537" y="626441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126056" y="15986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652932" y="19549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687232" y="24505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4" descr="C:\Users\assembly\Desktop\2015 국정감사\PPT\1차 기관 로고\kordi_logo_c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487" y="188640"/>
            <a:ext cx="1593998" cy="37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25024" y="764704"/>
            <a:ext cx="83900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인 사회참여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月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만원↓ </a:t>
            </a:r>
            <a:r>
              <a:rPr lang="en-US" altLang="ko-KR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=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근로자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?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001" y="3356992"/>
            <a:ext cx="8238353" cy="25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04579" y="3789040"/>
            <a:ext cx="576064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노인이 살기 좋은 나라 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0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위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하위권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기준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96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국 中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</a:p>
          <a:p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노년층의 </a:t>
            </a:r>
            <a:r>
              <a:rPr lang="ko-KR" altLang="en-US" sz="16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빈곤율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8.5%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기준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OECD 1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en-US" altLang="ko-KR" sz="16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endParaRPr lang="en-US" altLang="ko-KR" sz="16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10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동안 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만원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짜리 일자리만 양성</a:t>
            </a:r>
            <a:endParaRPr lang="ko-KR" altLang="en-US" sz="16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70879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9</TotalTime>
  <Words>2474</Words>
  <Application>Microsoft Office PowerPoint</Application>
  <PresentationFormat>화면 슬라이드 쇼(4:3)</PresentationFormat>
  <Paragraphs>229</Paragraphs>
  <Slides>17</Slides>
  <Notes>3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18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75</cp:revision>
  <cp:lastPrinted>2015-09-13T11:05:34Z</cp:lastPrinted>
  <dcterms:created xsi:type="dcterms:W3CDTF">2015-09-02T12:15:03Z</dcterms:created>
  <dcterms:modified xsi:type="dcterms:W3CDTF">2015-09-14T10:49:55Z</dcterms:modified>
</cp:coreProperties>
</file>